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6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7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8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1"/>
  </p:sldMasterIdLst>
  <p:notesMasterIdLst>
    <p:notesMasterId r:id="rId16"/>
  </p:notesMasterIdLst>
  <p:sldIdLst>
    <p:sldId id="822" r:id="rId2"/>
    <p:sldId id="823" r:id="rId3"/>
    <p:sldId id="857" r:id="rId4"/>
    <p:sldId id="858" r:id="rId5"/>
    <p:sldId id="849" r:id="rId6"/>
    <p:sldId id="856" r:id="rId7"/>
    <p:sldId id="850" r:id="rId8"/>
    <p:sldId id="859" r:id="rId9"/>
    <p:sldId id="851" r:id="rId10"/>
    <p:sldId id="852" r:id="rId11"/>
    <p:sldId id="863" r:id="rId12"/>
    <p:sldId id="862" r:id="rId13"/>
    <p:sldId id="861" r:id="rId14"/>
    <p:sldId id="855" r:id="rId15"/>
  </p:sldIdLst>
  <p:sldSz cx="9906000" cy="6858000" type="A4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9E331CE-6BAC-48D9-B497-33744DF00B5C}">
          <p14:sldIdLst>
            <p14:sldId id="822"/>
            <p14:sldId id="823"/>
            <p14:sldId id="857"/>
            <p14:sldId id="858"/>
            <p14:sldId id="849"/>
            <p14:sldId id="856"/>
            <p14:sldId id="850"/>
            <p14:sldId id="859"/>
            <p14:sldId id="851"/>
            <p14:sldId id="852"/>
            <p14:sldId id="863"/>
            <p14:sldId id="862"/>
            <p14:sldId id="861"/>
            <p14:sldId id="85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37">
          <p15:clr>
            <a:srgbClr val="A4A3A4"/>
          </p15:clr>
        </p15:guide>
        <p15:guide id="2" orient="horz" pos="630">
          <p15:clr>
            <a:srgbClr val="A4A3A4"/>
          </p15:clr>
        </p15:guide>
        <p15:guide id="3" orient="horz" pos="2161">
          <p15:clr>
            <a:srgbClr val="A4A3A4"/>
          </p15:clr>
        </p15:guide>
        <p15:guide id="4" pos="3139">
          <p15:clr>
            <a:srgbClr val="A4A3A4"/>
          </p15:clr>
        </p15:guide>
        <p15:guide id="5" pos="184">
          <p15:clr>
            <a:srgbClr val="A4A3A4"/>
          </p15:clr>
        </p15:guide>
        <p15:guide id="6" pos="60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CCED"/>
    <a:srgbClr val="8F8F8F"/>
    <a:srgbClr val="066BB0"/>
    <a:srgbClr val="FFFFCC"/>
    <a:srgbClr val="F3CF74"/>
    <a:srgbClr val="F18917"/>
    <a:srgbClr val="BFBFBF"/>
    <a:srgbClr val="BA9CC5"/>
    <a:srgbClr val="D26308"/>
    <a:srgbClr val="EFB6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328" autoAdjust="0"/>
    <p:restoredTop sz="97441" autoAdjust="0"/>
  </p:normalViewPr>
  <p:slideViewPr>
    <p:cSldViewPr snapToGrid="0" snapToObjects="1">
      <p:cViewPr>
        <p:scale>
          <a:sx n="110" d="100"/>
          <a:sy n="110" d="100"/>
        </p:scale>
        <p:origin x="320" y="528"/>
      </p:cViewPr>
      <p:guideLst>
        <p:guide orient="horz" pos="4237"/>
        <p:guide orient="horz" pos="630"/>
        <p:guide orient="horz" pos="2161"/>
        <p:guide pos="3139"/>
        <p:guide pos="184"/>
        <p:guide pos="60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6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tags" Target="tags/tag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oleObject" Target="Work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Sheet1!$A$4</c:f>
              <c:strCache>
                <c:ptCount val="1"/>
                <c:pt idx="0">
                  <c:v>Best AMS scor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Sheet1!$B$4:$F$4</c:f>
              <c:numCache>
                <c:formatCode>General</c:formatCode>
                <c:ptCount val="5"/>
                <c:pt idx="0">
                  <c:v>0.59</c:v>
                </c:pt>
                <c:pt idx="1">
                  <c:v>0.59</c:v>
                </c:pt>
                <c:pt idx="2">
                  <c:v>0.59</c:v>
                </c:pt>
                <c:pt idx="3">
                  <c:v>0.59</c:v>
                </c:pt>
                <c:pt idx="4">
                  <c:v>0.5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6904768"/>
        <c:axId val="702744048"/>
      </c:barChart>
      <c:catAx>
        <c:axId val="69690476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2744048"/>
        <c:crosses val="autoZero"/>
        <c:auto val="1"/>
        <c:lblAlgn val="ctr"/>
        <c:lblOffset val="100"/>
        <c:noMultiLvlLbl val="0"/>
      </c:catAx>
      <c:valAx>
        <c:axId val="702744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6904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7.emf"/><Relationship Id="rId3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949D0-A891-461E-B94C-70BB503142AE}" type="datetimeFigureOut">
              <a:rPr lang="en-US" smtClean="0"/>
              <a:t>8/28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8393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181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914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301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0280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558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7139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660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8902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434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886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2">
    <p:bg>
      <p:bgPr>
        <a:solidFill>
          <a:srgbClr val="EFB6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1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248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1">
    <p:bg>
      <p:bgPr>
        <a:solidFill>
          <a:srgbClr val="F3CF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1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405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urple">
    <p:bg>
      <p:bgPr>
        <a:solidFill>
          <a:srgbClr val="BA9C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 userDrawn="1"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1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5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ay 2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1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566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5328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615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1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572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1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57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2">
    <p:bg>
      <p:bgPr>
        <a:solidFill>
          <a:srgbClr val="AFE0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 userDrawn="1"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1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435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1">
    <p:bg>
      <p:bgPr>
        <a:solidFill>
          <a:srgbClr val="DAF0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1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982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96543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12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1.xml"/><Relationship Id="rId5" Type="http://schemas.openxmlformats.org/officeDocument/2006/relationships/image" Target="../media/image2.png"/><Relationship Id="rId1" Type="http://schemas.openxmlformats.org/officeDocument/2006/relationships/tags" Target="../tags/tag12.xml"/><Relationship Id="rId2" Type="http://schemas.openxmlformats.org/officeDocument/2006/relationships/tags" Target="../tags/tag13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78.xml"/><Relationship Id="rId20" Type="http://schemas.openxmlformats.org/officeDocument/2006/relationships/oleObject" Target="../embeddings/oleObject12.bin"/><Relationship Id="rId21" Type="http://schemas.openxmlformats.org/officeDocument/2006/relationships/image" Target="../media/image7.emf"/><Relationship Id="rId22" Type="http://schemas.openxmlformats.org/officeDocument/2006/relationships/oleObject" Target="../embeddings/oleObject13.bin"/><Relationship Id="rId23" Type="http://schemas.openxmlformats.org/officeDocument/2006/relationships/image" Target="../media/image8.emf"/><Relationship Id="rId10" Type="http://schemas.openxmlformats.org/officeDocument/2006/relationships/tags" Target="../tags/tag79.xml"/><Relationship Id="rId11" Type="http://schemas.openxmlformats.org/officeDocument/2006/relationships/tags" Target="../tags/tag80.xml"/><Relationship Id="rId12" Type="http://schemas.openxmlformats.org/officeDocument/2006/relationships/tags" Target="../tags/tag81.xml"/><Relationship Id="rId13" Type="http://schemas.openxmlformats.org/officeDocument/2006/relationships/tags" Target="../tags/tag82.xml"/><Relationship Id="rId14" Type="http://schemas.openxmlformats.org/officeDocument/2006/relationships/tags" Target="../tags/tag83.xml"/><Relationship Id="rId15" Type="http://schemas.openxmlformats.org/officeDocument/2006/relationships/tags" Target="../tags/tag84.xml"/><Relationship Id="rId16" Type="http://schemas.openxmlformats.org/officeDocument/2006/relationships/slideLayout" Target="../slideLayouts/slideLayout2.xml"/><Relationship Id="rId17" Type="http://schemas.openxmlformats.org/officeDocument/2006/relationships/notesSlide" Target="../notesSlides/notesSlide7.xml"/><Relationship Id="rId18" Type="http://schemas.openxmlformats.org/officeDocument/2006/relationships/oleObject" Target="../embeddings/oleObject11.bin"/><Relationship Id="rId19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71.xml"/><Relationship Id="rId3" Type="http://schemas.openxmlformats.org/officeDocument/2006/relationships/tags" Target="../tags/tag72.xml"/><Relationship Id="rId4" Type="http://schemas.openxmlformats.org/officeDocument/2006/relationships/tags" Target="../tags/tag73.xml"/><Relationship Id="rId5" Type="http://schemas.openxmlformats.org/officeDocument/2006/relationships/tags" Target="../tags/tag74.xml"/><Relationship Id="rId6" Type="http://schemas.openxmlformats.org/officeDocument/2006/relationships/tags" Target="../tags/tag75.xml"/><Relationship Id="rId7" Type="http://schemas.openxmlformats.org/officeDocument/2006/relationships/tags" Target="../tags/tag76.xml"/><Relationship Id="rId8" Type="http://schemas.openxmlformats.org/officeDocument/2006/relationships/tags" Target="../tags/tag7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1.emf"/><Relationship Id="rId8" Type="http://schemas.openxmlformats.org/officeDocument/2006/relationships/image" Target="../media/image9.png"/><Relationship Id="rId1" Type="http://schemas.openxmlformats.org/officeDocument/2006/relationships/vmlDrawing" Target="../drawings/vmlDrawing11.vml"/><Relationship Id="rId2" Type="http://schemas.openxmlformats.org/officeDocument/2006/relationships/tags" Target="../tags/tag8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4" Type="http://schemas.openxmlformats.org/officeDocument/2006/relationships/tags" Target="../tags/tag89.xml"/><Relationship Id="rId5" Type="http://schemas.openxmlformats.org/officeDocument/2006/relationships/tags" Target="../tags/tag90.xml"/><Relationship Id="rId6" Type="http://schemas.openxmlformats.org/officeDocument/2006/relationships/tags" Target="../tags/tag91.xml"/><Relationship Id="rId7" Type="http://schemas.openxmlformats.org/officeDocument/2006/relationships/slideLayout" Target="../slideLayouts/slideLayout2.xml"/><Relationship Id="rId8" Type="http://schemas.openxmlformats.org/officeDocument/2006/relationships/notesSlide" Target="../notesSlides/notesSlide9.xml"/><Relationship Id="rId9" Type="http://schemas.openxmlformats.org/officeDocument/2006/relationships/oleObject" Target="../embeddings/oleObject15.bin"/><Relationship Id="rId10" Type="http://schemas.openxmlformats.org/officeDocument/2006/relationships/image" Target="../media/image1.emf"/><Relationship Id="rId11" Type="http://schemas.openxmlformats.org/officeDocument/2006/relationships/chart" Target="../charts/chart1.xml"/><Relationship Id="rId1" Type="http://schemas.openxmlformats.org/officeDocument/2006/relationships/vmlDrawing" Target="../drawings/vmlDrawing12.vml"/><Relationship Id="rId2" Type="http://schemas.openxmlformats.org/officeDocument/2006/relationships/tags" Target="../tags/tag8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4" Type="http://schemas.openxmlformats.org/officeDocument/2006/relationships/tags" Target="../tags/tag94.xml"/><Relationship Id="rId5" Type="http://schemas.openxmlformats.org/officeDocument/2006/relationships/tags" Target="../tags/tag95.xml"/><Relationship Id="rId6" Type="http://schemas.openxmlformats.org/officeDocument/2006/relationships/tags" Target="../tags/tag96.xml"/><Relationship Id="rId7" Type="http://schemas.openxmlformats.org/officeDocument/2006/relationships/slideLayout" Target="../slideLayouts/slideLayout14.xml"/><Relationship Id="rId8" Type="http://schemas.openxmlformats.org/officeDocument/2006/relationships/oleObject" Target="../embeddings/oleObject16.bin"/><Relationship Id="rId9" Type="http://schemas.openxmlformats.org/officeDocument/2006/relationships/image" Target="../media/image1.emf"/><Relationship Id="rId10" Type="http://schemas.openxmlformats.org/officeDocument/2006/relationships/slide" Target="slide4.xml"/><Relationship Id="rId11" Type="http://schemas.openxmlformats.org/officeDocument/2006/relationships/slide" Target="slide8.xml"/><Relationship Id="rId1" Type="http://schemas.openxmlformats.org/officeDocument/2006/relationships/vmlDrawing" Target="../drawings/vmlDrawing13.vml"/><Relationship Id="rId2" Type="http://schemas.openxmlformats.org/officeDocument/2006/relationships/tags" Target="../tags/tag9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14.vml"/><Relationship Id="rId2" Type="http://schemas.openxmlformats.org/officeDocument/2006/relationships/tags" Target="../tags/tag9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slide" Target="slide8.xml"/><Relationship Id="rId12" Type="http://schemas.openxmlformats.org/officeDocument/2006/relationships/slide" Target="slide13.xml"/><Relationship Id="rId1" Type="http://schemas.openxmlformats.org/officeDocument/2006/relationships/vmlDrawing" Target="../drawings/vmlDrawing3.v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tags" Target="../tags/tag19.xml"/><Relationship Id="rId6" Type="http://schemas.openxmlformats.org/officeDocument/2006/relationships/tags" Target="../tags/tag20.xml"/><Relationship Id="rId7" Type="http://schemas.openxmlformats.org/officeDocument/2006/relationships/slideLayout" Target="../slideLayouts/slideLayout14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1.emf"/><Relationship Id="rId10" Type="http://schemas.openxmlformats.org/officeDocument/2006/relationships/slide" Target="slide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tags" Target="../tags/tag25.xml"/><Relationship Id="rId7" Type="http://schemas.openxmlformats.org/officeDocument/2006/relationships/slideLayout" Target="../slideLayouts/slideLayout14.xml"/><Relationship Id="rId8" Type="http://schemas.openxmlformats.org/officeDocument/2006/relationships/oleObject" Target="../embeddings/oleObject4.bin"/><Relationship Id="rId9" Type="http://schemas.openxmlformats.org/officeDocument/2006/relationships/image" Target="../media/image1.emf"/><Relationship Id="rId10" Type="http://schemas.openxmlformats.org/officeDocument/2006/relationships/slide" Target="slide8.xml"/><Relationship Id="rId11" Type="http://schemas.openxmlformats.org/officeDocument/2006/relationships/slide" Target="slide13.xml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1.emf"/><Relationship Id="rId8" Type="http://schemas.openxmlformats.org/officeDocument/2006/relationships/image" Target="../media/image3.JPG"/><Relationship Id="rId1" Type="http://schemas.openxmlformats.org/officeDocument/2006/relationships/vmlDrawing" Target="../drawings/vmlDrawing5.vml"/><Relationship Id="rId2" Type="http://schemas.openxmlformats.org/officeDocument/2006/relationships/tags" Target="../tags/tag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4" Type="http://schemas.openxmlformats.org/officeDocument/2006/relationships/tags" Target="../tags/tag30.xml"/><Relationship Id="rId5" Type="http://schemas.openxmlformats.org/officeDocument/2006/relationships/slideLayout" Target="../slideLayouts/slideLayout2.xml"/><Relationship Id="rId6" Type="http://schemas.openxmlformats.org/officeDocument/2006/relationships/notesSlide" Target="../notesSlides/notesSlide4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1.emf"/><Relationship Id="rId9" Type="http://schemas.openxmlformats.org/officeDocument/2006/relationships/image" Target="../media/image4.JPG"/><Relationship Id="rId1" Type="http://schemas.openxmlformats.org/officeDocument/2006/relationships/vmlDrawing" Target="../drawings/vmlDrawing6.vml"/><Relationship Id="rId2" Type="http://schemas.openxmlformats.org/officeDocument/2006/relationships/tags" Target="../tags/tag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1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7.vml"/><Relationship Id="rId2" Type="http://schemas.openxmlformats.org/officeDocument/2006/relationships/tags" Target="../tags/tag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tags" Target="../tags/tag35.xml"/><Relationship Id="rId5" Type="http://schemas.openxmlformats.org/officeDocument/2006/relationships/tags" Target="../tags/tag36.xml"/><Relationship Id="rId6" Type="http://schemas.openxmlformats.org/officeDocument/2006/relationships/tags" Target="../tags/tag37.xml"/><Relationship Id="rId7" Type="http://schemas.openxmlformats.org/officeDocument/2006/relationships/slideLayout" Target="../slideLayouts/slideLayout14.xml"/><Relationship Id="rId8" Type="http://schemas.openxmlformats.org/officeDocument/2006/relationships/oleObject" Target="../embeddings/oleObject8.bin"/><Relationship Id="rId9" Type="http://schemas.openxmlformats.org/officeDocument/2006/relationships/image" Target="../media/image1.emf"/><Relationship Id="rId10" Type="http://schemas.openxmlformats.org/officeDocument/2006/relationships/slide" Target="slide4.xml"/><Relationship Id="rId11" Type="http://schemas.openxmlformats.org/officeDocument/2006/relationships/slide" Target="slide13.xml"/><Relationship Id="rId1" Type="http://schemas.openxmlformats.org/officeDocument/2006/relationships/vmlDrawing" Target="../drawings/vmlDrawing8.vml"/><Relationship Id="rId2" Type="http://schemas.openxmlformats.org/officeDocument/2006/relationships/tags" Target="../tags/tag33.xml"/></Relationships>
</file>

<file path=ppt/slides/_rels/slide9.xml.rels><?xml version="1.0" encoding="UTF-8" standalone="yes"?>
<Relationships xmlns="http://schemas.openxmlformats.org/package/2006/relationships"><Relationship Id="rId20" Type="http://schemas.openxmlformats.org/officeDocument/2006/relationships/tags" Target="../tags/tag56.xml"/><Relationship Id="rId21" Type="http://schemas.openxmlformats.org/officeDocument/2006/relationships/tags" Target="../tags/tag57.xml"/><Relationship Id="rId22" Type="http://schemas.openxmlformats.org/officeDocument/2006/relationships/tags" Target="../tags/tag58.xml"/><Relationship Id="rId23" Type="http://schemas.openxmlformats.org/officeDocument/2006/relationships/tags" Target="../tags/tag59.xml"/><Relationship Id="rId24" Type="http://schemas.openxmlformats.org/officeDocument/2006/relationships/tags" Target="../tags/tag60.xml"/><Relationship Id="rId25" Type="http://schemas.openxmlformats.org/officeDocument/2006/relationships/tags" Target="../tags/tag61.xml"/><Relationship Id="rId26" Type="http://schemas.openxmlformats.org/officeDocument/2006/relationships/tags" Target="../tags/tag62.xml"/><Relationship Id="rId27" Type="http://schemas.openxmlformats.org/officeDocument/2006/relationships/tags" Target="../tags/tag63.xml"/><Relationship Id="rId28" Type="http://schemas.openxmlformats.org/officeDocument/2006/relationships/tags" Target="../tags/tag64.xml"/><Relationship Id="rId29" Type="http://schemas.openxmlformats.org/officeDocument/2006/relationships/tags" Target="../tags/tag65.xml"/><Relationship Id="rId1" Type="http://schemas.openxmlformats.org/officeDocument/2006/relationships/vmlDrawing" Target="../drawings/vmlDrawing9.vml"/><Relationship Id="rId2" Type="http://schemas.openxmlformats.org/officeDocument/2006/relationships/tags" Target="../tags/tag38.xml"/><Relationship Id="rId3" Type="http://schemas.openxmlformats.org/officeDocument/2006/relationships/tags" Target="../tags/tag39.xml"/><Relationship Id="rId4" Type="http://schemas.openxmlformats.org/officeDocument/2006/relationships/tags" Target="../tags/tag40.xml"/><Relationship Id="rId5" Type="http://schemas.openxmlformats.org/officeDocument/2006/relationships/tags" Target="../tags/tag41.xml"/><Relationship Id="rId30" Type="http://schemas.openxmlformats.org/officeDocument/2006/relationships/tags" Target="../tags/tag66.xml"/><Relationship Id="rId31" Type="http://schemas.openxmlformats.org/officeDocument/2006/relationships/tags" Target="../tags/tag67.xml"/><Relationship Id="rId32" Type="http://schemas.openxmlformats.org/officeDocument/2006/relationships/tags" Target="../tags/tag68.xml"/><Relationship Id="rId9" Type="http://schemas.openxmlformats.org/officeDocument/2006/relationships/tags" Target="../tags/tag45.xml"/><Relationship Id="rId6" Type="http://schemas.openxmlformats.org/officeDocument/2006/relationships/tags" Target="../tags/tag42.xml"/><Relationship Id="rId7" Type="http://schemas.openxmlformats.org/officeDocument/2006/relationships/tags" Target="../tags/tag43.xml"/><Relationship Id="rId8" Type="http://schemas.openxmlformats.org/officeDocument/2006/relationships/tags" Target="../tags/tag44.xml"/><Relationship Id="rId33" Type="http://schemas.openxmlformats.org/officeDocument/2006/relationships/tags" Target="../tags/tag69.xml"/><Relationship Id="rId34" Type="http://schemas.openxmlformats.org/officeDocument/2006/relationships/tags" Target="../tags/tag70.xml"/><Relationship Id="rId35" Type="http://schemas.openxmlformats.org/officeDocument/2006/relationships/slideLayout" Target="../slideLayouts/slideLayout2.xml"/><Relationship Id="rId36" Type="http://schemas.openxmlformats.org/officeDocument/2006/relationships/notesSlide" Target="../notesSlides/notesSlide6.xml"/><Relationship Id="rId10" Type="http://schemas.openxmlformats.org/officeDocument/2006/relationships/tags" Target="../tags/tag46.xml"/><Relationship Id="rId11" Type="http://schemas.openxmlformats.org/officeDocument/2006/relationships/tags" Target="../tags/tag47.xml"/><Relationship Id="rId12" Type="http://schemas.openxmlformats.org/officeDocument/2006/relationships/tags" Target="../tags/tag48.xml"/><Relationship Id="rId13" Type="http://schemas.openxmlformats.org/officeDocument/2006/relationships/tags" Target="../tags/tag49.xml"/><Relationship Id="rId14" Type="http://schemas.openxmlformats.org/officeDocument/2006/relationships/tags" Target="../tags/tag50.xml"/><Relationship Id="rId15" Type="http://schemas.openxmlformats.org/officeDocument/2006/relationships/tags" Target="../tags/tag51.xml"/><Relationship Id="rId16" Type="http://schemas.openxmlformats.org/officeDocument/2006/relationships/tags" Target="../tags/tag52.xml"/><Relationship Id="rId17" Type="http://schemas.openxmlformats.org/officeDocument/2006/relationships/tags" Target="../tags/tag53.xml"/><Relationship Id="rId18" Type="http://schemas.openxmlformats.org/officeDocument/2006/relationships/tags" Target="../tags/tag54.xml"/><Relationship Id="rId19" Type="http://schemas.openxmlformats.org/officeDocument/2006/relationships/tags" Target="../tags/tag55.xml"/><Relationship Id="rId37" Type="http://schemas.openxmlformats.org/officeDocument/2006/relationships/oleObject" Target="../embeddings/oleObject9.bin"/><Relationship Id="rId38" Type="http://schemas.openxmlformats.org/officeDocument/2006/relationships/image" Target="../media/image1.emf"/><Relationship Id="rId39" Type="http://schemas.openxmlformats.org/officeDocument/2006/relationships/oleObject" Target="../embeddings/oleObject10.bin"/><Relationship Id="rId40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2306638"/>
            <a:ext cx="9331326" cy="1560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b="1" dirty="0" smtClean="0">
                <a:solidFill>
                  <a:srgbClr val="000000"/>
                </a:solidFill>
                <a:latin typeface="Book Antiqua" pitchFamily="18" charset="0"/>
              </a:rPr>
              <a:t>Kaggle Competition Project:</a:t>
            </a:r>
          </a:p>
          <a:p>
            <a:pPr>
              <a:lnSpc>
                <a:spcPct val="95000"/>
              </a:lnSpc>
            </a:pPr>
            <a:r>
              <a:rPr lang="en-US" sz="3200" b="1" dirty="0" smtClean="0">
                <a:solidFill>
                  <a:srgbClr val="000000"/>
                </a:solidFill>
                <a:latin typeface="Book Antiqua" pitchFamily="18" charset="0"/>
              </a:rPr>
              <a:t>Team 7 Sigma</a:t>
            </a:r>
            <a:endParaRPr lang="en-US" dirty="0" smtClean="0">
              <a:solidFill>
                <a:srgbClr val="000000"/>
              </a:solidFill>
              <a:latin typeface="Book Antiqua" pitchFamily="18" charset="0"/>
            </a:endParaRPr>
          </a:p>
          <a:p>
            <a:pPr>
              <a:lnSpc>
                <a:spcPct val="95000"/>
              </a:lnSpc>
              <a:spcBef>
                <a:spcPct val="55000"/>
              </a:spcBef>
            </a:pPr>
            <a:r>
              <a:rPr lang="en-US" sz="2200" dirty="0" smtClean="0">
                <a:solidFill>
                  <a:srgbClr val="000000"/>
                </a:solidFill>
                <a:latin typeface="Book Antiqua" pitchFamily="18" charset="0"/>
              </a:rPr>
              <a:t>August 28, 2016</a:t>
            </a:r>
            <a:endParaRPr lang="en-US" sz="2200" dirty="0">
              <a:solidFill>
                <a:srgbClr val="000000"/>
              </a:solidFill>
              <a:latin typeface="Book Antiqua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7989" y="3923106"/>
            <a:ext cx="6870023" cy="2146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779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663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47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130" name="Text Placeholder 4"/>
          <p:cNvSpPr txBox="1">
            <a:spLocks/>
          </p:cNvSpPr>
          <p:nvPr/>
        </p:nvSpPr>
        <p:spPr>
          <a:xfrm>
            <a:off x="230372" y="1348016"/>
            <a:ext cx="4454031" cy="224814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131" name="Text Placeholder 4"/>
          <p:cNvSpPr txBox="1">
            <a:spLocks/>
          </p:cNvSpPr>
          <p:nvPr/>
        </p:nvSpPr>
        <p:spPr>
          <a:xfrm>
            <a:off x="230372" y="3694975"/>
            <a:ext cx="4454031" cy="188658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err="1" smtClean="0"/>
              <a:t>XGBoost</a:t>
            </a:r>
            <a:r>
              <a:rPr lang="en-US" dirty="0" smtClean="0"/>
              <a:t> produced a much better model – particularly after tuning to avoid overfitting – and resulted in a test AMS of 3.64 to 3.7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55" name="Object 5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4904847"/>
              </p:ext>
            </p:extLst>
          </p:nvPr>
        </p:nvGraphicFramePr>
        <p:xfrm>
          <a:off x="419100" y="1638299"/>
          <a:ext cx="4076576" cy="2086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473" name="Chart" r:id="rId20" imgW="4076576" imgH="2086020" progId="MSGraph.Chart.8">
                  <p:embed followColorScheme="full"/>
                </p:oleObj>
              </mc:Choice>
              <mc:Fallback>
                <p:oleObj name="Chart" r:id="rId20" imgW="4076576" imgH="20860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419100" y="1638299"/>
                        <a:ext cx="4076576" cy="2086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 flipV="1">
            <a:off x="258763" y="2097088"/>
            <a:ext cx="182563" cy="96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 smtClean="0">
                <a:latin typeface="+mn-lt"/>
                <a:sym typeface="+mn-lt"/>
              </a:rPr>
              <a:t>Training AMS</a:t>
            </a:r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484688" y="2846388"/>
            <a:ext cx="182563" cy="728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 smtClean="0">
                <a:latin typeface="+mn-lt"/>
                <a:sym typeface="+mn-lt"/>
              </a:rPr>
              <a:t>Iteration #</a:t>
            </a:r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62" name="Text Placeholder 2"/>
          <p:cNvSpPr txBox="1">
            <a:spLocks/>
          </p:cNvSpPr>
          <p:nvPr/>
        </p:nvSpPr>
        <p:spPr>
          <a:xfrm>
            <a:off x="422895" y="1419225"/>
            <a:ext cx="4453999" cy="406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err="1" smtClean="0"/>
              <a:t>XGBoost</a:t>
            </a:r>
            <a:r>
              <a:rPr lang="en-US" sz="1400" b="1" dirty="0" smtClean="0"/>
              <a:t> Iterations: Training AMS Performance</a:t>
            </a:r>
          </a:p>
          <a:p>
            <a:pPr marL="0" indent="0" algn="ctr">
              <a:spcBef>
                <a:spcPct val="25000"/>
              </a:spcBef>
              <a:buNone/>
            </a:pPr>
            <a:r>
              <a:rPr lang="en-US" sz="1200" dirty="0" smtClean="0"/>
              <a:t>(1,050 Models Predicting Training Results)</a:t>
            </a:r>
            <a:endParaRPr lang="en-US" sz="1100" dirty="0"/>
          </a:p>
        </p:txBody>
      </p:sp>
      <p:sp>
        <p:nvSpPr>
          <p:cNvPr id="63" name="AutoShape 2"/>
          <p:cNvSpPr>
            <a:spLocks noChangeArrowheads="1"/>
          </p:cNvSpPr>
          <p:nvPr/>
        </p:nvSpPr>
        <p:spPr bwMode="gray">
          <a:xfrm>
            <a:off x="1830634" y="1873250"/>
            <a:ext cx="2227097" cy="502920"/>
          </a:xfrm>
          <a:prstGeom prst="wedgeRectCallout">
            <a:avLst>
              <a:gd name="adj1" fmla="val -88823"/>
              <a:gd name="adj2" fmla="val 14637"/>
            </a:avLst>
          </a:prstGeom>
          <a:solidFill>
            <a:srgbClr val="FBE8CC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36000" rIns="9144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u="sng" dirty="0" smtClean="0">
                <a:solidFill>
                  <a:srgbClr val="000000"/>
                </a:solidFill>
              </a:rPr>
              <a:t>BASELINE MODEL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i="1" dirty="0" smtClean="0">
                <a:solidFill>
                  <a:srgbClr val="000000"/>
                </a:solidFill>
              </a:rPr>
              <a:t>Best training AMS = 2.06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i="1" dirty="0" smtClean="0">
                <a:solidFill>
                  <a:srgbClr val="000000"/>
                </a:solidFill>
              </a:rPr>
              <a:t>(before re-training)</a:t>
            </a:r>
          </a:p>
        </p:txBody>
      </p:sp>
      <p:graphicFrame>
        <p:nvGraphicFramePr>
          <p:cNvPr id="64" name="Object 63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49091349"/>
              </p:ext>
            </p:extLst>
          </p:nvPr>
        </p:nvGraphicFramePr>
        <p:xfrm>
          <a:off x="419100" y="4076700"/>
          <a:ext cx="4352922" cy="15049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474" name="Chart" r:id="rId22" imgW="4352922" imgH="1504980" progId="MSGraph.Chart.8">
                  <p:embed followColorScheme="full"/>
                </p:oleObj>
              </mc:Choice>
              <mc:Fallback>
                <p:oleObj name="Chart" r:id="rId22" imgW="4352922" imgH="15049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419100" y="4076700"/>
                        <a:ext cx="4352922" cy="15049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20" name="Freeform 119"/>
          <p:cNvSpPr/>
          <p:nvPr>
            <p:custDataLst>
              <p:tags r:id="rId8"/>
            </p:custDataLst>
          </p:nvPr>
        </p:nvSpPr>
        <p:spPr bwMode="auto">
          <a:xfrm>
            <a:off x="1790700" y="521335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119" name="Freeform 118"/>
          <p:cNvSpPr/>
          <p:nvPr>
            <p:custDataLst>
              <p:tags r:id="rId9"/>
            </p:custDataLst>
          </p:nvPr>
        </p:nvSpPr>
        <p:spPr bwMode="auto">
          <a:xfrm>
            <a:off x="1847850" y="521335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Freeform 117"/>
          <p:cNvSpPr/>
          <p:nvPr>
            <p:custDataLst>
              <p:tags r:id="rId10"/>
            </p:custDataLst>
          </p:nvPr>
        </p:nvSpPr>
        <p:spPr bwMode="auto">
          <a:xfrm>
            <a:off x="1790700" y="521335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39813" y="5403850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FBF56-06C2-430B-9B08-DAE734608C3A}" type="datetime'''''''''''B''''''''A''S''''''''''''''E''L''''IN''''''E'">
              <a:rPr lang="en-US" altLang="en-US" sz="1000" b="1"/>
              <a:pPr/>
              <a:t>BASELINE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84375" y="5403850"/>
            <a:ext cx="650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B5C877-9424-4AD4-8A23-06C64428921C}" type="datetime'''''''''''S''''''ce''''''''n''ar''''io'''''''''''' ''''1'''''">
              <a:rPr lang="en-US" altLang="en-US" sz="1000" b="1"/>
              <a:pPr/>
              <a:t>Scenario 1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922588" y="5403850"/>
            <a:ext cx="650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10AE0A-98D1-4DEA-A891-BF977B5A67B2}" type="datetime'''''S''''''''c''e''''''nar''''''i''''''''''''o ''''2'''''''''">
              <a:rPr lang="en-US" altLang="en-US" sz="1000" b="1"/>
              <a:pPr/>
              <a:t>Scenario 2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8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860800" y="5403850"/>
            <a:ext cx="650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65835A-D931-4897-AC35-14B2DA287966}" type="datetime'''''''''''''''S''c''''''''e''''n''''''a''r''''''io ''3'">
              <a:rPr lang="en-US" altLang="en-US" sz="1000" b="1"/>
              <a:pPr/>
              <a:t>Scenario 3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 flipV="1">
            <a:off x="258763" y="4500563"/>
            <a:ext cx="182563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 smtClean="0">
                <a:latin typeface="+mn-lt"/>
                <a:sym typeface="+mn-lt"/>
              </a:rPr>
              <a:t>Test AMS</a:t>
            </a:r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115" name="Text Placeholder 2"/>
          <p:cNvSpPr txBox="1">
            <a:spLocks/>
          </p:cNvSpPr>
          <p:nvPr/>
        </p:nvSpPr>
        <p:spPr>
          <a:xfrm>
            <a:off x="422895" y="3733856"/>
            <a:ext cx="4453999" cy="406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smtClean="0"/>
              <a:t>Tuning Scenarios: Test AMS Performance</a:t>
            </a:r>
          </a:p>
          <a:p>
            <a:pPr marL="0" indent="0" algn="ctr">
              <a:spcBef>
                <a:spcPct val="25000"/>
              </a:spcBef>
              <a:buNone/>
            </a:pPr>
            <a:r>
              <a:rPr lang="en-US" sz="1200" dirty="0" smtClean="0"/>
              <a:t>(BASELINE Plus 3 Scenario Model Test Results)</a:t>
            </a:r>
            <a:endParaRPr lang="en-US" sz="1100" dirty="0"/>
          </a:p>
        </p:txBody>
      </p:sp>
      <p:graphicFrame>
        <p:nvGraphicFramePr>
          <p:cNvPr id="122" name="Group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510088"/>
              </p:ext>
            </p:extLst>
          </p:nvPr>
        </p:nvGraphicFramePr>
        <p:xfrm>
          <a:off x="258763" y="5640126"/>
          <a:ext cx="4408488" cy="731520"/>
        </p:xfrm>
        <a:graphic>
          <a:graphicData uri="http://schemas.openxmlformats.org/drawingml/2006/table">
            <a:tbl>
              <a:tblPr firstRow="1" lastRow="1"/>
              <a:tblGrid>
                <a:gridCol w="638220"/>
                <a:gridCol w="940526"/>
                <a:gridCol w="905691"/>
                <a:gridCol w="966651"/>
                <a:gridCol w="957400"/>
              </a:tblGrid>
              <a:tr h="1580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TA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2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80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pth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80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ounds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4" name="Text Placeholder 4"/>
          <p:cNvSpPr txBox="1">
            <a:spLocks/>
          </p:cNvSpPr>
          <p:nvPr/>
        </p:nvSpPr>
        <p:spPr>
          <a:xfrm>
            <a:off x="5511814" y="1701317"/>
            <a:ext cx="3861473" cy="19609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 anchor="ctr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400" dirty="0" smtClean="0"/>
              <a:t>Ran 1,050 iterations of </a:t>
            </a:r>
            <a:r>
              <a:rPr lang="en-US" sz="1400" dirty="0" err="1" smtClean="0"/>
              <a:t>XGBoost</a:t>
            </a:r>
            <a:r>
              <a:rPr lang="en-US" sz="1400" dirty="0" smtClean="0"/>
              <a:t> model, varying parameters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Best training AMS was </a:t>
            </a:r>
            <a:r>
              <a:rPr lang="en-US" sz="1400" b="1" dirty="0" smtClean="0"/>
              <a:t>2.06</a:t>
            </a:r>
            <a:r>
              <a:rPr lang="en-US" sz="1400" dirty="0" smtClean="0"/>
              <a:t>, but when re-trained against all observations, improved to </a:t>
            </a:r>
            <a:r>
              <a:rPr lang="en-US" sz="1400" b="1" dirty="0" smtClean="0"/>
              <a:t>4.89 </a:t>
            </a:r>
            <a:r>
              <a:rPr lang="en-US" sz="1400" dirty="0" smtClean="0"/>
              <a:t>(training AMS)</a:t>
            </a:r>
            <a:endParaRPr lang="en-US" sz="1400" b="1" dirty="0" smtClean="0"/>
          </a:p>
          <a:p>
            <a:pPr>
              <a:spcBef>
                <a:spcPct val="100000"/>
              </a:spcBef>
            </a:pPr>
            <a:r>
              <a:rPr lang="en-US" sz="1400" dirty="0" smtClean="0"/>
              <a:t>However, AMS drops to </a:t>
            </a:r>
            <a:r>
              <a:rPr lang="en-US" sz="1400" b="1" dirty="0" smtClean="0"/>
              <a:t>3.64</a:t>
            </a:r>
            <a:r>
              <a:rPr lang="en-US" sz="1400" dirty="0" smtClean="0"/>
              <a:t> against test dataset (used as baseline for re-tuning)</a:t>
            </a:r>
          </a:p>
        </p:txBody>
      </p:sp>
      <p:sp>
        <p:nvSpPr>
          <p:cNvPr id="125" name="Rectangle 8"/>
          <p:cNvSpPr>
            <a:spLocks noChangeArrowheads="1"/>
          </p:cNvSpPr>
          <p:nvPr/>
        </p:nvSpPr>
        <p:spPr bwMode="gray">
          <a:xfrm>
            <a:off x="5511814" y="1358215"/>
            <a:ext cx="3861473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Discussion: 1,050 Iterations</a:t>
            </a:r>
          </a:p>
        </p:txBody>
      </p:sp>
      <p:sp>
        <p:nvSpPr>
          <p:cNvPr id="126" name="Text Placeholder 4"/>
          <p:cNvSpPr txBox="1">
            <a:spLocks/>
          </p:cNvSpPr>
          <p:nvPr/>
        </p:nvSpPr>
        <p:spPr>
          <a:xfrm>
            <a:off x="5511814" y="4235377"/>
            <a:ext cx="3861473" cy="19609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400" dirty="0" smtClean="0"/>
              <a:t>Next, manually tuned the best training model (baseline) by varying parameters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Unable to systematically submit large number of versions to Kaggle, so manually selected 3 parameter combinations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Best one produced test AMS = </a:t>
            </a:r>
            <a:r>
              <a:rPr lang="en-US" sz="1400" b="1" dirty="0" smtClean="0"/>
              <a:t>3.7</a:t>
            </a:r>
            <a:r>
              <a:rPr lang="en-US" sz="1400" dirty="0" smtClean="0"/>
              <a:t>; reduced overfitting by decreasing # of rounds</a:t>
            </a:r>
          </a:p>
        </p:txBody>
      </p:sp>
      <p:sp>
        <p:nvSpPr>
          <p:cNvPr id="127" name="Rectangle 8"/>
          <p:cNvSpPr>
            <a:spLocks noChangeArrowheads="1"/>
          </p:cNvSpPr>
          <p:nvPr/>
        </p:nvSpPr>
        <p:spPr bwMode="gray">
          <a:xfrm>
            <a:off x="5511814" y="3892275"/>
            <a:ext cx="3861473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Discussion: Tuning Scenarios</a:t>
            </a:r>
          </a:p>
        </p:txBody>
      </p:sp>
      <p:sp>
        <p:nvSpPr>
          <p:cNvPr id="128" name="AutoShape 2"/>
          <p:cNvSpPr>
            <a:spLocks noChangeArrowheads="1"/>
          </p:cNvSpPr>
          <p:nvPr/>
        </p:nvSpPr>
        <p:spPr bwMode="auto">
          <a:xfrm rot="5400000">
            <a:off x="4364751" y="2402357"/>
            <a:ext cx="1595552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29" name="AutoShape 2"/>
          <p:cNvSpPr>
            <a:spLocks noChangeArrowheads="1"/>
          </p:cNvSpPr>
          <p:nvPr/>
        </p:nvSpPr>
        <p:spPr bwMode="auto">
          <a:xfrm rot="5400000">
            <a:off x="4364751" y="4868586"/>
            <a:ext cx="1595552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36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7" name="AutoShape 4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8" name="AutoShape 5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9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Test Individual Model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9205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663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120937" y="580246"/>
            <a:ext cx="9334800" cy="716400"/>
          </a:xfrm>
        </p:spPr>
        <p:txBody>
          <a:bodyPr/>
          <a:lstStyle/>
          <a:p>
            <a:r>
              <a:rPr lang="en-US" dirty="0" smtClean="0"/>
              <a:t>Best </a:t>
            </a:r>
            <a:r>
              <a:rPr lang="en-US" dirty="0" err="1" smtClean="0"/>
              <a:t>XGBoost</a:t>
            </a:r>
            <a:r>
              <a:rPr lang="en-US" dirty="0"/>
              <a:t> </a:t>
            </a:r>
            <a:r>
              <a:rPr lang="en-US" dirty="0" smtClean="0"/>
              <a:t>predictions yield top 100 </a:t>
            </a:r>
            <a:r>
              <a:rPr lang="en-US" dirty="0" err="1" smtClean="0"/>
              <a:t>Kaggle</a:t>
            </a:r>
            <a:r>
              <a:rPr lang="en-US" dirty="0" smtClean="0"/>
              <a:t> sco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10</a:t>
            </a:fld>
            <a:endParaRPr lang="en-US" dirty="0"/>
          </a:p>
        </p:txBody>
      </p:sp>
      <p:sp>
        <p:nvSpPr>
          <p:cNvPr id="136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7" name="AutoShape 4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8" name="AutoShape 5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9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Test Individual Models</a:t>
            </a:r>
            <a:endParaRPr lang="en-US" sz="9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937" y="1310400"/>
            <a:ext cx="7173782" cy="4598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7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663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131" name="Text Placeholder 4"/>
          <p:cNvSpPr txBox="1">
            <a:spLocks/>
          </p:cNvSpPr>
          <p:nvPr/>
        </p:nvSpPr>
        <p:spPr>
          <a:xfrm>
            <a:off x="337274" y="2028220"/>
            <a:ext cx="4454031" cy="298361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err="1" smtClean="0"/>
              <a:t>NeuralNets</a:t>
            </a:r>
            <a:r>
              <a:rPr lang="en-US" dirty="0" smtClean="0"/>
              <a:t> of varying hidden nodes yielded poorer results.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ros</a:t>
            </a:r>
            <a:r>
              <a:rPr lang="en-US" dirty="0" smtClean="0"/>
              <a:t>s validating </a:t>
            </a:r>
            <a:r>
              <a:rPr lang="en-US" dirty="0"/>
              <a:t>t</a:t>
            </a:r>
            <a:r>
              <a:rPr lang="en-US" dirty="0" smtClean="0"/>
              <a:t>uning with large hidden node values took too long to run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11</a:t>
            </a:fld>
            <a:endParaRPr lang="en-US" dirty="0"/>
          </a:p>
        </p:txBody>
      </p:sp>
      <p:sp useBgFill="1">
        <p:nvSpPr>
          <p:cNvPr id="120" name="Freeform 119"/>
          <p:cNvSpPr/>
          <p:nvPr>
            <p:custDataLst>
              <p:tags r:id="rId4"/>
            </p:custDataLst>
          </p:nvPr>
        </p:nvSpPr>
        <p:spPr bwMode="auto">
          <a:xfrm>
            <a:off x="1897602" y="3546596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61417" y="4077771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 flipV="1">
            <a:off x="365665" y="2833809"/>
            <a:ext cx="182563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 smtClean="0">
                <a:latin typeface="+mn-lt"/>
                <a:sym typeface="+mn-lt"/>
              </a:rPr>
              <a:t>Train </a:t>
            </a:r>
            <a:r>
              <a:rPr lang="en-US" altLang="en-US" sz="1200" b="1" dirty="0" smtClean="0">
                <a:latin typeface="+mn-lt"/>
                <a:sym typeface="+mn-lt"/>
              </a:rPr>
              <a:t>AMS</a:t>
            </a:r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115" name="Text Placeholder 2"/>
          <p:cNvSpPr txBox="1">
            <a:spLocks/>
          </p:cNvSpPr>
          <p:nvPr/>
        </p:nvSpPr>
        <p:spPr>
          <a:xfrm>
            <a:off x="529797" y="2067102"/>
            <a:ext cx="4453999" cy="406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smtClean="0"/>
              <a:t>Tuning Scenarios: </a:t>
            </a:r>
            <a:r>
              <a:rPr lang="en-US" sz="1400" b="1" dirty="0" smtClean="0"/>
              <a:t>Train </a:t>
            </a:r>
            <a:r>
              <a:rPr lang="en-US" sz="1400" b="1" dirty="0" smtClean="0"/>
              <a:t>AMS Performance</a:t>
            </a:r>
          </a:p>
          <a:p>
            <a:pPr marL="0" indent="0" algn="ctr">
              <a:spcBef>
                <a:spcPct val="25000"/>
              </a:spcBef>
              <a:buNone/>
            </a:pPr>
            <a:r>
              <a:rPr lang="en-US" sz="1200" dirty="0" smtClean="0"/>
              <a:t>(A single hidden layer with hidden 3 – 7 hidden nodes)</a:t>
            </a:r>
            <a:endParaRPr lang="en-US" sz="1100" dirty="0"/>
          </a:p>
        </p:txBody>
      </p:sp>
      <p:sp>
        <p:nvSpPr>
          <p:cNvPr id="126" name="Text Placeholder 4"/>
          <p:cNvSpPr txBox="1">
            <a:spLocks/>
          </p:cNvSpPr>
          <p:nvPr/>
        </p:nvSpPr>
        <p:spPr>
          <a:xfrm>
            <a:off x="5511814" y="2349661"/>
            <a:ext cx="3861473" cy="38466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400" dirty="0" smtClean="0"/>
              <a:t>Next, manually </a:t>
            </a:r>
            <a:r>
              <a:rPr lang="en-US" sz="1400" dirty="0" smtClean="0"/>
              <a:t>tune </a:t>
            </a:r>
            <a:r>
              <a:rPr lang="en-US" sz="1400" dirty="0" smtClean="0"/>
              <a:t>the best training model (baseline) by </a:t>
            </a:r>
            <a:r>
              <a:rPr lang="en-US" sz="1400" dirty="0" smtClean="0"/>
              <a:t>adjusting the number of hidden nodes on single hidden layer</a:t>
            </a:r>
            <a:endParaRPr lang="en-US" sz="1400" dirty="0" smtClean="0"/>
          </a:p>
          <a:p>
            <a:pPr>
              <a:spcBef>
                <a:spcPct val="50000"/>
              </a:spcBef>
            </a:pPr>
            <a:r>
              <a:rPr lang="en-US" sz="1400" dirty="0" smtClean="0"/>
              <a:t>Unable to complete 20-50 hidden node cross validation on training data because of time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Interesting to note that for 3-7 hidden nodes the AMS is the same</a:t>
            </a:r>
          </a:p>
          <a:p>
            <a:pPr>
              <a:spcBef>
                <a:spcPct val="50000"/>
              </a:spcBef>
            </a:pPr>
            <a:r>
              <a:rPr lang="en-US" sz="1400" dirty="0"/>
              <a:t>A single hidden layer with 20 hidden nodes yielded </a:t>
            </a:r>
            <a:r>
              <a:rPr lang="en-US" sz="1400" b="1" dirty="0" smtClean="0"/>
              <a:t>0.59 </a:t>
            </a:r>
            <a:r>
              <a:rPr lang="en-US" sz="1400" dirty="0" smtClean="0"/>
              <a:t>AMS as well</a:t>
            </a:r>
            <a:endParaRPr lang="en-US" sz="1400" dirty="0"/>
          </a:p>
          <a:p>
            <a:pPr>
              <a:spcBef>
                <a:spcPct val="50000"/>
              </a:spcBef>
            </a:pPr>
            <a:r>
              <a:rPr lang="en-US" sz="1400" dirty="0" smtClean="0"/>
              <a:t>It appears that although the function to cross validate different hidden nodes and threshold work, all models converge on threshold of .6 and predict all background.  </a:t>
            </a:r>
            <a:endParaRPr lang="en-US" sz="1400" dirty="0"/>
          </a:p>
        </p:txBody>
      </p:sp>
      <p:sp>
        <p:nvSpPr>
          <p:cNvPr id="127" name="Rectangle 8"/>
          <p:cNvSpPr>
            <a:spLocks noChangeArrowheads="1"/>
          </p:cNvSpPr>
          <p:nvPr/>
        </p:nvSpPr>
        <p:spPr bwMode="gray">
          <a:xfrm>
            <a:off x="5511814" y="2005635"/>
            <a:ext cx="3861473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Discussion: Tuning Scenarios</a:t>
            </a:r>
          </a:p>
        </p:txBody>
      </p:sp>
      <p:sp>
        <p:nvSpPr>
          <p:cNvPr id="129" name="AutoShape 2"/>
          <p:cNvSpPr>
            <a:spLocks noChangeArrowheads="1"/>
          </p:cNvSpPr>
          <p:nvPr/>
        </p:nvSpPr>
        <p:spPr bwMode="auto">
          <a:xfrm rot="5400000">
            <a:off x="4377229" y="3398601"/>
            <a:ext cx="1595552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36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7" name="AutoShape 4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8" name="AutoShape 5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9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Test Individual Models</a:t>
            </a:r>
            <a:endParaRPr lang="en-US" sz="9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635001"/>
              </p:ext>
            </p:extLst>
          </p:nvPr>
        </p:nvGraphicFramePr>
        <p:xfrm>
          <a:off x="337274" y="5178536"/>
          <a:ext cx="4454029" cy="96012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988014"/>
                <a:gridCol w="693203"/>
                <a:gridCol w="693203"/>
                <a:gridCol w="693203"/>
                <a:gridCol w="693203"/>
                <a:gridCol w="693203"/>
              </a:tblGrid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Hidden Nod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Best Threshol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Best AMS scor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0.59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 smtClean="0">
                          <a:effectLst/>
                        </a:rPr>
                        <a:t>0.59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0.59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.5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0.59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</a:tr>
            </a:tbl>
          </a:graphicData>
        </a:graphic>
      </p:graphicFrame>
      <p:graphicFrame>
        <p:nvGraphicFramePr>
          <p:cNvPr id="36" name="Chart 3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240880"/>
              </p:ext>
            </p:extLst>
          </p:nvPr>
        </p:nvGraphicFramePr>
        <p:xfrm>
          <a:off x="668982" y="2473366"/>
          <a:ext cx="4122321" cy="2640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96058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179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59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1812" y="2614613"/>
            <a:ext cx="2940050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255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mtClean="0"/>
              <a:t>Understand Dataset</a:t>
            </a:r>
            <a:endParaRPr lang="en-US" dirty="0" smtClean="0"/>
          </a:p>
        </p:txBody>
      </p:sp>
      <p:sp>
        <p:nvSpPr>
          <p:cNvPr id="8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1812" y="3022600"/>
            <a:ext cx="294005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est Individual Models</a:t>
            </a:r>
            <a:endParaRPr lang="en-US" dirty="0" smtClean="0"/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1812" y="3429000"/>
            <a:ext cx="2940050" cy="4079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2550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 smtClean="0"/>
              <a:t>Takeaways and Next Steps</a:t>
            </a:r>
            <a:endParaRPr lang="en-US" b="1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937EEB20-9213-4E1A-A868-C4081869EF08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10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Takeaways and Next Ste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13</a:t>
            </a:fld>
            <a:endParaRPr lang="en-US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517294" y="1894943"/>
            <a:ext cx="8319039" cy="34470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 smtClean="0"/>
              <a:t>Takeaways</a:t>
            </a:r>
          </a:p>
          <a:p>
            <a:r>
              <a:rPr lang="en-US" dirty="0"/>
              <a:t>EDA indicates that mass related variables are most important</a:t>
            </a:r>
          </a:p>
          <a:p>
            <a:r>
              <a:rPr lang="en-US" dirty="0" smtClean="0"/>
              <a:t>EDA shows mean and standard deviation indicate that of </a:t>
            </a:r>
            <a:r>
              <a:rPr lang="en-US" dirty="0"/>
              <a:t>many variables tend to vary for signal vs background </a:t>
            </a:r>
            <a:r>
              <a:rPr lang="en-US" dirty="0" smtClean="0"/>
              <a:t>events</a:t>
            </a:r>
          </a:p>
          <a:p>
            <a:r>
              <a:rPr lang="en-US" dirty="0" smtClean="0"/>
              <a:t>Tuned </a:t>
            </a:r>
            <a:r>
              <a:rPr lang="en-US" dirty="0" err="1"/>
              <a:t>xgbBoost</a:t>
            </a:r>
            <a:r>
              <a:rPr lang="en-US" dirty="0"/>
              <a:t> model yield highest AMS score of our tested </a:t>
            </a:r>
            <a:r>
              <a:rPr lang="en-US" dirty="0" smtClean="0"/>
              <a:t>models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1" dirty="0" smtClean="0"/>
              <a:t>Next Steps</a:t>
            </a:r>
          </a:p>
          <a:p>
            <a:r>
              <a:rPr lang="en-US" dirty="0" smtClean="0"/>
              <a:t>Continue to tune neural network </a:t>
            </a:r>
            <a:r>
              <a:rPr lang="en-US" dirty="0" smtClean="0"/>
              <a:t>model </a:t>
            </a:r>
            <a:endParaRPr lang="en-US" dirty="0" smtClean="0"/>
          </a:p>
          <a:p>
            <a:r>
              <a:rPr lang="en-US" dirty="0" smtClean="0"/>
              <a:t>Attempt </a:t>
            </a:r>
            <a:r>
              <a:rPr lang="en-US" dirty="0" smtClean="0"/>
              <a:t>ensemble </a:t>
            </a:r>
            <a:r>
              <a:rPr lang="en-US" dirty="0" smtClean="0"/>
              <a:t>model given best neural net and </a:t>
            </a:r>
            <a:r>
              <a:rPr lang="en-US" dirty="0" err="1" smtClean="0"/>
              <a:t>xgbBoost</a:t>
            </a:r>
            <a:r>
              <a:rPr lang="en-US" dirty="0" smtClean="0"/>
              <a:t> models </a:t>
            </a:r>
          </a:p>
          <a:p>
            <a:r>
              <a:rPr lang="en-US" dirty="0" smtClean="0"/>
              <a:t>Attempt other ensemble model combin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14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379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Our team followed a 3 step approach to the Higgs Boson Kaggle compet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1</a:t>
            </a:fld>
            <a:endParaRPr lang="en-US" dirty="0"/>
          </a:p>
        </p:txBody>
      </p:sp>
      <p:sp>
        <p:nvSpPr>
          <p:cNvPr id="11" name="Rectangle 22"/>
          <p:cNvSpPr>
            <a:spLocks noChangeArrowheads="1"/>
          </p:cNvSpPr>
          <p:nvPr/>
        </p:nvSpPr>
        <p:spPr bwMode="auto">
          <a:xfrm>
            <a:off x="296745" y="1543287"/>
            <a:ext cx="9329737" cy="4797425"/>
          </a:xfrm>
          <a:prstGeom prst="rect">
            <a:avLst/>
          </a:prstGeom>
          <a:solidFill>
            <a:srgbClr val="F0F0F0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12" name="Rectangle 11"/>
          <p:cNvSpPr/>
          <p:nvPr/>
        </p:nvSpPr>
        <p:spPr>
          <a:xfrm>
            <a:off x="520177" y="5509293"/>
            <a:ext cx="8903510" cy="628650"/>
          </a:xfrm>
          <a:prstGeom prst="rect">
            <a:avLst/>
          </a:prstGeom>
          <a:solidFill>
            <a:srgbClr val="A5CCED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91440" anchor="ctr"/>
          <a:lstStyle/>
          <a:p>
            <a:pPr algn="ctr">
              <a:spcBef>
                <a:spcPts val="1600"/>
              </a:spcBef>
              <a:defRPr/>
            </a:pPr>
            <a:r>
              <a:rPr lang="en-US" sz="1500" b="1" i="1" dirty="0" smtClean="0"/>
              <a:t>Best AMS result: 3.70</a:t>
            </a:r>
            <a:endParaRPr lang="en-US" sz="1500" b="1" i="1" dirty="0"/>
          </a:p>
        </p:txBody>
      </p:sp>
      <p:sp>
        <p:nvSpPr>
          <p:cNvPr id="13" name="AutoShape 3"/>
          <p:cNvSpPr>
            <a:spLocks noChangeArrowheads="1"/>
          </p:cNvSpPr>
          <p:nvPr/>
        </p:nvSpPr>
        <p:spPr bwMode="gray">
          <a:xfrm>
            <a:off x="6095111" y="2167175"/>
            <a:ext cx="2892425" cy="1074737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Test </a:t>
            </a:r>
            <a:r>
              <a:rPr lang="en-US" altLang="en-US" sz="1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Ensemble Models</a:t>
            </a:r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 noChangeArrowheads="1"/>
          </p:cNvSpPr>
          <p:nvPr/>
        </p:nvSpPr>
        <p:spPr bwMode="gray">
          <a:xfrm>
            <a:off x="3459861" y="2167175"/>
            <a:ext cx="2892425" cy="1074737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Test Individual Models</a:t>
            </a:r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gray">
          <a:xfrm>
            <a:off x="823024" y="2167175"/>
            <a:ext cx="2892425" cy="1074737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Understand Dataset</a:t>
            </a:r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gray">
          <a:xfrm>
            <a:off x="938095" y="1711562"/>
            <a:ext cx="80899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600" b="1" dirty="0" smtClean="0">
                <a:solidFill>
                  <a:srgbClr val="000000"/>
                </a:solidFill>
              </a:rPr>
              <a:t>Higgs Boson Kaggle Competition Approach</a:t>
            </a:r>
            <a:endParaRPr lang="en-US" altLang="en-US" sz="1600" b="1" dirty="0">
              <a:solidFill>
                <a:srgbClr val="000000"/>
              </a:solidFill>
            </a:endParaRPr>
          </a:p>
        </p:txBody>
      </p:sp>
      <p:sp>
        <p:nvSpPr>
          <p:cNvPr id="17" name="Rectangle 36"/>
          <p:cNvSpPr>
            <a:spLocks noChangeArrowheads="1"/>
          </p:cNvSpPr>
          <p:nvPr/>
        </p:nvSpPr>
        <p:spPr bwMode="gray">
          <a:xfrm>
            <a:off x="846836" y="3349862"/>
            <a:ext cx="2563813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63500" rIns="31750" bIns="63500"/>
          <a:lstStyle>
            <a:lvl1pPr marL="109538" indent="-109538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Performed high level EDA to understand:</a:t>
            </a:r>
          </a:p>
          <a:p>
            <a:pPr marL="548640" lvl="1">
              <a:lnSpc>
                <a:spcPct val="95000"/>
              </a:lnSpc>
              <a:spcBef>
                <a:spcPts val="1200"/>
              </a:spcBef>
              <a:buFont typeface="Arial" panose="020B0604020202020204" pitchFamily="34" charset="0"/>
              <a:buChar char="–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Variable relationships</a:t>
            </a:r>
          </a:p>
          <a:p>
            <a:pPr marL="548640" lvl="1">
              <a:lnSpc>
                <a:spcPct val="95000"/>
              </a:lnSpc>
              <a:spcBef>
                <a:spcPts val="1200"/>
              </a:spcBef>
              <a:buFont typeface="Arial" panose="020B0604020202020204" pitchFamily="34" charset="0"/>
              <a:buChar char="–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Means / Standard Deviations for signal vs background</a:t>
            </a:r>
          </a:p>
          <a:p>
            <a:pPr marL="225425" indent="-225425">
              <a:lnSpc>
                <a:spcPct val="95000"/>
              </a:lnSpc>
              <a:spcBef>
                <a:spcPts val="1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Tried PCA in effort to reduce dimensions</a:t>
            </a:r>
          </a:p>
        </p:txBody>
      </p:sp>
      <p:sp>
        <p:nvSpPr>
          <p:cNvPr id="18" name="Rectangle 36"/>
          <p:cNvSpPr>
            <a:spLocks noChangeArrowheads="1"/>
          </p:cNvSpPr>
          <p:nvPr/>
        </p:nvSpPr>
        <p:spPr bwMode="gray">
          <a:xfrm>
            <a:off x="3505899" y="3349861"/>
            <a:ext cx="2563812" cy="1897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63500" rIns="31750" bIns="63500"/>
          <a:lstStyle>
            <a:lvl1pPr marL="109538" indent="-109538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Created Random Forest model</a:t>
            </a:r>
          </a:p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Created </a:t>
            </a:r>
            <a:r>
              <a:rPr lang="en-US" altLang="en-US" sz="1400" kern="0" dirty="0" err="1" smtClean="0">
                <a:solidFill>
                  <a:srgbClr val="000000"/>
                </a:solidFill>
              </a:rPr>
              <a:t>XGBoost</a:t>
            </a:r>
            <a:r>
              <a:rPr lang="en-US" altLang="en-US" sz="1400" kern="0" dirty="0" smtClean="0">
                <a:solidFill>
                  <a:srgbClr val="000000"/>
                </a:solidFill>
              </a:rPr>
              <a:t> model</a:t>
            </a:r>
          </a:p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AMS used to train and evaluate each model</a:t>
            </a: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gray">
          <a:xfrm>
            <a:off x="6166549" y="3349862"/>
            <a:ext cx="2563812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63500" rIns="31750" bIns="63500"/>
          <a:lstStyle>
            <a:lvl1pPr marL="109538" indent="-109538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Evaluated 7 individual models using small subset of dataset</a:t>
            </a:r>
          </a:p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Prioritized a “short list” based on accuracy and covariance</a:t>
            </a:r>
          </a:p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Tested 3 combinations</a:t>
            </a:r>
          </a:p>
        </p:txBody>
      </p:sp>
    </p:spTree>
    <p:extLst>
      <p:ext uri="{BB962C8B-B14F-4D97-AF65-F5344CB8AC3E}">
        <p14:creationId xmlns:p14="http://schemas.microsoft.com/office/powerpoint/2010/main" val="41471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550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49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937EEB20-9213-4E1A-A868-C4081869EF08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1812" y="2613025"/>
            <a:ext cx="294005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/>
              <a:t>Understand Dataset</a:t>
            </a:r>
            <a:endParaRPr lang="en-US" dirty="0" smtClean="0"/>
          </a:p>
        </p:txBody>
      </p:sp>
      <p:sp>
        <p:nvSpPr>
          <p:cNvPr id="7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1812" y="3019425"/>
            <a:ext cx="2940050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2550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Test Individual Models</a:t>
            </a:r>
          </a:p>
        </p:txBody>
      </p:sp>
      <p:sp>
        <p:nvSpPr>
          <p:cNvPr id="9" name="Text Placeholder 2">
            <a:hlinkClick r:id="rId12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1812" y="3425825"/>
            <a:ext cx="2940050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80963" tIns="80963" rIns="0" bIns="8255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/>
              <a:t>Takeaways and Next Step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21536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56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2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1812" y="2614613"/>
            <a:ext cx="2940050" cy="4079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255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smtClean="0"/>
              <a:t>Understand Dataset</a:t>
            </a:r>
            <a:endParaRPr lang="en-US" b="1" dirty="0" smtClean="0"/>
          </a:p>
        </p:txBody>
      </p:sp>
      <p:sp>
        <p:nvSpPr>
          <p:cNvPr id="16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1812" y="3022600"/>
            <a:ext cx="294005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est Individual Models</a:t>
            </a:r>
            <a:endParaRPr lang="en-US" dirty="0" smtClean="0"/>
          </a:p>
        </p:txBody>
      </p:sp>
      <p:sp>
        <p:nvSpPr>
          <p:cNvPr id="23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1812" y="3429000"/>
            <a:ext cx="2940050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80963" tIns="82550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/>
              <a:t>Takeaways and Next Steps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937EEB20-9213-4E1A-A868-C4081869EF08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50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Examining the relationships between variables reveals several strong correl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4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94" y="1693802"/>
            <a:ext cx="5164440" cy="4703128"/>
          </a:xfrm>
          <a:prstGeom prst="rect">
            <a:avLst/>
          </a:prstGeom>
        </p:spPr>
      </p:pic>
      <p:sp>
        <p:nvSpPr>
          <p:cNvPr id="7" name="Text Placeholder 2"/>
          <p:cNvSpPr txBox="1">
            <a:spLocks/>
          </p:cNvSpPr>
          <p:nvPr/>
        </p:nvSpPr>
        <p:spPr>
          <a:xfrm>
            <a:off x="375189" y="1456502"/>
            <a:ext cx="5194411" cy="193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smtClean="0"/>
              <a:t>Variable Correlation Matrix</a:t>
            </a:r>
            <a:endParaRPr lang="en-US" sz="1100" dirty="0"/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6186115" y="2259590"/>
            <a:ext cx="3425885" cy="15880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400" dirty="0" smtClean="0"/>
              <a:t>DER_deltaeta_jet and DER_mass_jet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DER_mass_MMC and DER_mass_vis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Most PRI and DER jet fields</a:t>
            </a:r>
          </a:p>
          <a:p>
            <a:pPr>
              <a:spcBef>
                <a:spcPct val="50000"/>
              </a:spcBef>
            </a:pPr>
            <a:endParaRPr lang="en-US" sz="1400" dirty="0" smtClean="0"/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gray">
          <a:xfrm>
            <a:off x="6186115" y="1906219"/>
            <a:ext cx="3425885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Strong Positive Correlations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 rot="5400000">
            <a:off x="4387611" y="3907494"/>
            <a:ext cx="2980494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2" name="Text Placeholder 4"/>
          <p:cNvSpPr txBox="1">
            <a:spLocks/>
          </p:cNvSpPr>
          <p:nvPr/>
        </p:nvSpPr>
        <p:spPr>
          <a:xfrm>
            <a:off x="6186116" y="4546247"/>
            <a:ext cx="3425885" cy="15880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400" dirty="0" smtClean="0"/>
              <a:t>DER_deltaeta_jet and DER_prodeta_jet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DER_mass_jet</a:t>
            </a:r>
            <a:r>
              <a:rPr lang="en-US" sz="1400" dirty="0"/>
              <a:t> </a:t>
            </a:r>
            <a:r>
              <a:rPr lang="en-US" sz="1400" dirty="0" smtClean="0"/>
              <a:t>and DER_prodeta_jet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DER_lep_eta_centrality and DER_prodeta_jet</a:t>
            </a:r>
          </a:p>
          <a:p>
            <a:pPr>
              <a:spcBef>
                <a:spcPct val="50000"/>
              </a:spcBef>
            </a:pPr>
            <a:endParaRPr lang="en-US" sz="1400" dirty="0" smtClean="0"/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gray">
          <a:xfrm>
            <a:off x="6186116" y="4192880"/>
            <a:ext cx="3425885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Strong Negative Correlations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>
          <a:xfrm>
            <a:off x="375158" y="1693802"/>
            <a:ext cx="5194442" cy="472302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15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Understand Dataset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271598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8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Mean and Standard Deviations of many variables tend to vary for signal vs background ev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5</a:t>
            </a:fld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>
            <a:off x="339634" y="1381435"/>
            <a:ext cx="6226629" cy="5066093"/>
            <a:chOff x="339634" y="1381435"/>
            <a:chExt cx="6574708" cy="5066093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9634" y="1610652"/>
              <a:ext cx="6574708" cy="4836876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sp>
          <p:nvSpPr>
            <p:cNvPr id="15" name="Text Placeholder 2"/>
            <p:cNvSpPr txBox="1">
              <a:spLocks/>
            </p:cNvSpPr>
            <p:nvPr/>
          </p:nvSpPr>
          <p:spPr>
            <a:xfrm>
              <a:off x="502051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Mass_MMC</a:t>
              </a:r>
              <a:endParaRPr lang="en-US" sz="900" dirty="0"/>
            </a:p>
          </p:txBody>
        </p:sp>
        <p:sp>
          <p:nvSpPr>
            <p:cNvPr id="16" name="Text Placeholder 2"/>
            <p:cNvSpPr txBox="1">
              <a:spLocks/>
            </p:cNvSpPr>
            <p:nvPr/>
          </p:nvSpPr>
          <p:spPr>
            <a:xfrm>
              <a:off x="2650148" y="1640201"/>
              <a:ext cx="2296321" cy="329042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en-US" sz="900" dirty="0"/>
            </a:p>
          </p:txBody>
        </p:sp>
        <p:sp>
          <p:nvSpPr>
            <p:cNvPr id="17" name="Text Placeholder 2"/>
            <p:cNvSpPr txBox="1">
              <a:spLocks/>
            </p:cNvSpPr>
            <p:nvPr/>
          </p:nvSpPr>
          <p:spPr>
            <a:xfrm>
              <a:off x="2299348" y="1719944"/>
              <a:ext cx="554235" cy="12465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pt_h</a:t>
              </a:r>
              <a:endParaRPr lang="en-US" sz="900" dirty="0"/>
            </a:p>
          </p:txBody>
        </p:sp>
        <p:sp>
          <p:nvSpPr>
            <p:cNvPr id="18" name="Text Placeholder 2"/>
            <p:cNvSpPr txBox="1">
              <a:spLocks/>
            </p:cNvSpPr>
            <p:nvPr/>
          </p:nvSpPr>
          <p:spPr>
            <a:xfrm>
              <a:off x="1700411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mass_vis</a:t>
              </a:r>
              <a:endParaRPr lang="en-US" sz="900" dirty="0"/>
            </a:p>
          </p:txBody>
        </p:sp>
        <p:sp>
          <p:nvSpPr>
            <p:cNvPr id="19" name="Text Placeholder 2"/>
            <p:cNvSpPr txBox="1">
              <a:spLocks/>
            </p:cNvSpPr>
            <p:nvPr/>
          </p:nvSpPr>
          <p:spPr>
            <a:xfrm>
              <a:off x="2853583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deltaeta_jet</a:t>
              </a:r>
              <a:endParaRPr lang="en-US" sz="900" dirty="0"/>
            </a:p>
          </p:txBody>
        </p:sp>
        <p:sp>
          <p:nvSpPr>
            <p:cNvPr id="20" name="Text Placeholder 2"/>
            <p:cNvSpPr txBox="1">
              <a:spLocks/>
            </p:cNvSpPr>
            <p:nvPr/>
          </p:nvSpPr>
          <p:spPr>
            <a:xfrm>
              <a:off x="3466155" y="1719944"/>
              <a:ext cx="554235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mass_jet</a:t>
              </a:r>
              <a:endParaRPr lang="en-US" sz="900" dirty="0"/>
            </a:p>
          </p:txBody>
        </p:sp>
        <p:sp>
          <p:nvSpPr>
            <p:cNvPr id="21" name="Text Placeholder 2"/>
            <p:cNvSpPr txBox="1">
              <a:spLocks/>
            </p:cNvSpPr>
            <p:nvPr/>
          </p:nvSpPr>
          <p:spPr>
            <a:xfrm>
              <a:off x="4008544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prodeta_jet</a:t>
              </a:r>
              <a:endParaRPr lang="en-US" sz="900" dirty="0"/>
            </a:p>
          </p:txBody>
        </p:sp>
        <p:sp>
          <p:nvSpPr>
            <p:cNvPr id="22" name="Text Placeholder 2"/>
            <p:cNvSpPr txBox="1">
              <a:spLocks/>
            </p:cNvSpPr>
            <p:nvPr/>
          </p:nvSpPr>
          <p:spPr>
            <a:xfrm>
              <a:off x="5179068" y="1721776"/>
              <a:ext cx="554235" cy="24290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pt_tot</a:t>
              </a:r>
              <a:endParaRPr lang="en-US" sz="900" dirty="0"/>
            </a:p>
          </p:txBody>
        </p:sp>
        <p:sp>
          <p:nvSpPr>
            <p:cNvPr id="23" name="Text Placeholder 2"/>
            <p:cNvSpPr txBox="1">
              <a:spLocks/>
            </p:cNvSpPr>
            <p:nvPr/>
          </p:nvSpPr>
          <p:spPr>
            <a:xfrm>
              <a:off x="4573996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deltar_tau</a:t>
              </a:r>
              <a:endParaRPr lang="en-US" sz="900" dirty="0"/>
            </a:p>
          </p:txBody>
        </p:sp>
        <p:sp>
          <p:nvSpPr>
            <p:cNvPr id="24" name="Text Placeholder 2"/>
            <p:cNvSpPr txBox="1">
              <a:spLocks/>
            </p:cNvSpPr>
            <p:nvPr/>
          </p:nvSpPr>
          <p:spPr>
            <a:xfrm>
              <a:off x="1108742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mass_transv</a:t>
              </a:r>
              <a:endParaRPr lang="en-US" sz="900" dirty="0"/>
            </a:p>
          </p:txBody>
        </p:sp>
        <p:sp>
          <p:nvSpPr>
            <p:cNvPr id="25" name="Text Placeholder 2"/>
            <p:cNvSpPr txBox="1">
              <a:spLocks/>
            </p:cNvSpPr>
            <p:nvPr/>
          </p:nvSpPr>
          <p:spPr>
            <a:xfrm>
              <a:off x="5786428" y="1719944"/>
              <a:ext cx="554235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sum_pt</a:t>
              </a:r>
              <a:endParaRPr lang="en-US" sz="900" dirty="0"/>
            </a:p>
          </p:txBody>
        </p:sp>
        <p:sp>
          <p:nvSpPr>
            <p:cNvPr id="26" name="Text Placeholder 2"/>
            <p:cNvSpPr txBox="1">
              <a:spLocks/>
            </p:cNvSpPr>
            <p:nvPr/>
          </p:nvSpPr>
          <p:spPr>
            <a:xfrm>
              <a:off x="6385079" y="1692213"/>
              <a:ext cx="503850" cy="26720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 anchor="ctr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Label</a:t>
              </a:r>
              <a:endParaRPr lang="en-US" sz="900" dirty="0"/>
            </a:p>
          </p:txBody>
        </p:sp>
        <p:sp>
          <p:nvSpPr>
            <p:cNvPr id="27" name="Line 3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546048" y="3398533"/>
              <a:ext cx="6360849" cy="0"/>
            </a:xfrm>
            <a:prstGeom prst="line">
              <a:avLst/>
            </a:prstGeom>
            <a:noFill/>
            <a:ln w="28575">
              <a:solidFill>
                <a:srgbClr val="E0301E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smtClean="0">
                <a:solidFill>
                  <a:srgbClr val="000000"/>
                </a:solidFill>
              </a:endParaRPr>
            </a:p>
          </p:txBody>
        </p:sp>
        <p:sp>
          <p:nvSpPr>
            <p:cNvPr id="28" name="Text Placeholder 2"/>
            <p:cNvSpPr txBox="1">
              <a:spLocks/>
            </p:cNvSpPr>
            <p:nvPr/>
          </p:nvSpPr>
          <p:spPr>
            <a:xfrm>
              <a:off x="340353" y="1381435"/>
              <a:ext cx="6573989" cy="1938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25000"/>
                </a:spcBef>
                <a:buNone/>
              </a:pPr>
              <a:r>
                <a:rPr lang="en-US" sz="1400" b="1" dirty="0" smtClean="0"/>
                <a:t>Standardized Variable Distribution</a:t>
              </a:r>
              <a:endParaRPr lang="en-US" sz="1100" dirty="0"/>
            </a:p>
          </p:txBody>
        </p:sp>
      </p:grpSp>
      <p:sp>
        <p:nvSpPr>
          <p:cNvPr id="29" name="AutoShape 2"/>
          <p:cNvSpPr>
            <a:spLocks noChangeArrowheads="1"/>
          </p:cNvSpPr>
          <p:nvPr/>
        </p:nvSpPr>
        <p:spPr bwMode="auto">
          <a:xfrm rot="5400000">
            <a:off x="5336842" y="3707195"/>
            <a:ext cx="2980494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7063856" y="2272093"/>
            <a:ext cx="2332693" cy="31516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Top part of distribution is signals</a:t>
            </a:r>
          </a:p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Most variables have noticeable difference in either mean or standard deviation comparing signal to background</a:t>
            </a:r>
          </a:p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Again, mass variables tend to vary greatly for signal vs background</a:t>
            </a:r>
            <a:endParaRPr lang="en-US" i="1" dirty="0"/>
          </a:p>
        </p:txBody>
      </p:sp>
      <p:sp>
        <p:nvSpPr>
          <p:cNvPr id="32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3" name="AutoShape 4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4" name="AutoShape 5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Understand Dataset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40682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PCA results indicate it will be difficult to reduce dimensions as first principal component explains just 23% of varia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6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62" y="1367244"/>
            <a:ext cx="5015530" cy="4911803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 rot="5400000">
            <a:off x="4317941" y="3707195"/>
            <a:ext cx="2980494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0" name="Text Placeholder 2"/>
          <p:cNvSpPr txBox="1">
            <a:spLocks/>
          </p:cNvSpPr>
          <p:nvPr/>
        </p:nvSpPr>
        <p:spPr>
          <a:xfrm>
            <a:off x="6192997" y="2872990"/>
            <a:ext cx="3225321" cy="22652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Reducing to 10 principal components explains just 75% of variance</a:t>
            </a:r>
          </a:p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First principal component explains only 23% of variance</a:t>
            </a:r>
          </a:p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Will be difficult to eliminate variables </a:t>
            </a:r>
            <a:r>
              <a:rPr lang="en-US" b="1" i="1" dirty="0" smtClean="0">
                <a:sym typeface="Wingdings" panose="05000000000000000000" pitchFamily="2" charset="2"/>
              </a:rPr>
              <a:t> implies meaningful information contained</a:t>
            </a:r>
            <a:endParaRPr lang="en-US" i="1" dirty="0"/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AutoShape 4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Understand Dataset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97117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992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4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1812" y="2614613"/>
            <a:ext cx="2940050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255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mtClean="0"/>
              <a:t>Understand Dataset</a:t>
            </a:r>
            <a:endParaRPr lang="en-US" dirty="0" smtClean="0"/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1812" y="3022600"/>
            <a:ext cx="2940050" cy="4064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smtClean="0"/>
              <a:t>Test Individual Models</a:t>
            </a:r>
            <a:endParaRPr lang="en-US" b="1" dirty="0" smtClean="0"/>
          </a:p>
        </p:txBody>
      </p:sp>
      <p:sp>
        <p:nvSpPr>
          <p:cNvPr id="20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1812" y="3429000"/>
            <a:ext cx="2940050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80963" tIns="82550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/>
              <a:t>Takeaways and Next Steps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937EEB20-9213-4E1A-A868-C4081869EF08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83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353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424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4"/>
          <p:cNvSpPr txBox="1">
            <a:spLocks/>
          </p:cNvSpPr>
          <p:nvPr/>
        </p:nvSpPr>
        <p:spPr>
          <a:xfrm>
            <a:off x="375158" y="1979613"/>
            <a:ext cx="4454031" cy="434141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First individual model attempted was a Random Forest which was not highly predictive but highlighted importance of mass vari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8</a:t>
            </a:fld>
            <a:endParaRPr lang="en-US" dirty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77340048"/>
              </p:ext>
            </p:extLst>
          </p:nvPr>
        </p:nvGraphicFramePr>
        <p:xfrm>
          <a:off x="1905000" y="1905000"/>
          <a:ext cx="2924189" cy="45052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425" name="Chart" r:id="rId39" imgW="2924189" imgH="4505220" progId="MSGraph.Chart.8">
                  <p:embed followColorScheme="full"/>
                </p:oleObj>
              </mc:Choice>
              <mc:Fallback>
                <p:oleObj name="Chart" r:id="rId39" imgW="2924189" imgH="45052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905000" y="1905000"/>
                        <a:ext cx="2924189" cy="45052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44625" y="3343275"/>
            <a:ext cx="6064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855C9FA-6F7C-404F-AC31-B1C7F96E725D}" type="datetime'''''D''E''''''''R''''''''''''''''''_p''''''''t_''''''''''h'">
              <a:rPr lang="en-US" altLang="en-US" sz="1000" b="1"/>
              <a:pPr/>
              <a:t>DER_pt_h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97000" y="3481388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6BAD22B-9128-4256-B069-BA24673E5C7A}" type="datetime'P''''''RI''''''''''''''''''_l''''e''p''''''_p''''''''''t'''''">
              <a:rPr lang="en-US" altLang="en-US" sz="1000" b="1"/>
              <a:pPr/>
              <a:t>PRI_lep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58900" y="3619500"/>
            <a:ext cx="6921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41ADC9-D050-47D1-880D-59CF05E1C3B2}" type="datetime'DE''''''''''''''''''R''_p''''''''''t''''''_''to''t'''''''">
              <a:rPr lang="en-US" altLang="en-US" sz="1000" b="1"/>
              <a:pPr/>
              <a:t>DER_pt_to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01725" y="3757613"/>
            <a:ext cx="949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3DE7CA-E59C-4F8B-85B1-F38EF89B7BE9}" type="datetime'''''P''''''''RI''_''''''m''''''e''''t''''''_''''''''s''umet'">
              <a:rPr lang="en-US" altLang="en-US" sz="1000" b="1"/>
              <a:pPr/>
              <a:t>PRI_met_sum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5088" y="3895725"/>
            <a:ext cx="715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0781D3-0FC8-46D1-8A31-5BC7066E53C5}" type="datetime'''PR''I''''_''''l''''''''''''''''''ep''''_''''et''''''a'''''''">
              <a:rPr lang="en-US" altLang="en-US" sz="1000" b="1"/>
              <a:pPr/>
              <a:t>PRI_lep_eta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57250" y="4033838"/>
            <a:ext cx="11938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2856F7E-A8AA-4500-AC7A-604977AD7A8B}" type="datetime'PR''''I_j''e''''''t_''''''''l''''''''ea''''''din''g_e''ta'''''">
              <a:rPr lang="en-US" altLang="en-US" sz="1000" b="1"/>
              <a:pPr/>
              <a:t>PRI_jet_leading_eta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93738" y="5829300"/>
            <a:ext cx="13573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D5B7F1-C604-449E-85D8-8CC3F3847565}" type="datetime'''P''''''''RI''''_jet''_''su''''bleading_''''''''''''''pt'''">
              <a:rPr lang="en-US" altLang="en-US" sz="1000" b="1"/>
              <a:pPr/>
              <a:t>PRI_jet_subleading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3888" y="5967413"/>
            <a:ext cx="14271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CB8565F-3B6D-4CE2-9EA5-058396E96A86}" type="datetime'''''''PR''''I_''j''''e''t_s''ub''''leadin''''g''''_''p''hi'">
              <a:rPr lang="en-US" altLang="en-US" sz="1000" b="1"/>
              <a:pPr/>
              <a:t>PRI_jet_subleading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84288" y="6105525"/>
            <a:ext cx="766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B81708-60E0-4387-8998-679465D70AEC}" type="datetime'P''R''''I_''''''''jet''''''''''''''_''''''''n''''''u''''m'''">
              <a:rPr lang="en-US" altLang="en-US" sz="1000" b="1"/>
              <a:pPr/>
              <a:t>PRI_jet_num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95313" y="2652713"/>
            <a:ext cx="1455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8D9E12E-BA1C-4AD7-9C55-090C58CD60A3}" type="datetime'D''ER''''_me''t_''phi_''''''''''cen''t''''r''''''''ality'''">
              <a:rPr lang="en-US" altLang="en-US" sz="1000" b="1"/>
              <a:pPr/>
              <a:t>DER_met_phi_centrality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327150" y="5000625"/>
            <a:ext cx="7239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F0A1D3B-9EEF-4594-A967-F818460B57BF}" type="datetime'P''''R''I''''''''_''''l''''e''''''p''''_''p''''''''''hi'''''''">
              <a:rPr lang="en-US" altLang="en-US" sz="1000" b="1"/>
              <a:pPr/>
              <a:t>PRI_lep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284288" y="5138738"/>
            <a:ext cx="766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44C05B-5510-4646-9CD8-CE650887ECAE}" type="datetime'''PR''''I''''_''''''''''''m''''et_''''''p''''h''i'''''''''">
              <a:rPr lang="en-US" altLang="en-US" sz="1000" b="1"/>
              <a:pPr/>
              <a:t>PRI_met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6113" y="5276850"/>
            <a:ext cx="1404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61DB43-8E41-4888-84E1-53EEEF747399}" type="datetime'''D''ER''_''''''l''ep''''''_''''''et''a_''''c''''en''trality'">
              <a:rPr lang="en-US" altLang="en-US" sz="1000" b="1"/>
              <a:pPr/>
              <a:t>DER_lep_eta_centrality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319213" y="5414963"/>
            <a:ext cx="731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5A50EF1-0384-4AC5-ABDC-4C47B18C9650}" type="datetime'''P''''''''''''R''''I''''_t''''au''_''p''h''''''i'''''">
              <a:rPr lang="en-US" altLang="en-US" sz="1000" b="1"/>
              <a:pPr/>
              <a:t>PRI_tau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49313" y="5553075"/>
            <a:ext cx="1201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FB3E29-F3AF-4886-86DC-F832E044624B}" type="datetime'PR''''I''_''j''et_''l''''''ea''d''i''''''''''ng_''p''hi'">
              <a:rPr lang="en-US" altLang="en-US" sz="1000" b="1"/>
              <a:pPr/>
              <a:t>PRI_jet_leading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31825" y="5691188"/>
            <a:ext cx="14192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37C42AA-EFE0-4F1B-B25E-7443E5387413}" type="datetime'P''''''R''''I''''_''''''''je''''t_s''ubl''e''a''''ding_eta'">
              <a:rPr lang="en-US" altLang="en-US" sz="1000" b="1"/>
              <a:pPr/>
              <a:t>PRI_jet_subleading_eta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222375" y="4171950"/>
            <a:ext cx="828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B93A7BB-77D5-4979-8FFE-6629D1D700EE}" type="datetime'''P''R''''I_j''''e''''t''_a''''l''l''''''''_p''''''t'">
              <a:rPr lang="en-US" altLang="en-US" sz="1000" b="1"/>
              <a:pPr/>
              <a:t>PRI_jet_all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27150" y="4310063"/>
            <a:ext cx="7239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E116F3-ECD9-47E4-A211-CFC5943FFCF8}" type="datetime'''''''''''P''''R''''''I''_''''''''t''''''au_e''''''''t''''a'">
              <a:rPr lang="en-US" altLang="en-US" sz="1000" b="1"/>
              <a:pPr/>
              <a:t>PRI_tau_eta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19163" y="4448175"/>
            <a:ext cx="11318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96BB002-BE66-45E9-BDD4-51F6F0955D2A}" type="datetime'''''''PR''''I_''j''e''''''t_l''e''''a''din''''g''_''p''''t'">
              <a:rPr lang="en-US" altLang="en-US" sz="1000" b="1"/>
              <a:pPr/>
              <a:t>PRI_jet_leading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00100" y="4586288"/>
            <a:ext cx="1250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58B7CD8-B669-463F-B84E-126F446ED403}" type="datetime'DER''''''''_''''''d''''eltaeta_''''''j''''e''''''t''''_je''t'">
              <a:rPr lang="en-US" altLang="en-US" sz="1000" b="1"/>
              <a:pPr/>
              <a:t>DER_deltaeta_jet_j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55675" y="4724400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72D661-3385-4F71-941F-B5C87BD4ABD7}" type="datetime'D''''E''R_''m''a''s''s_''''''''''''j''''et_''j''et'''''">
              <a:rPr lang="en-US" altLang="en-US" sz="1000" b="1"/>
              <a:pPr/>
              <a:t>DER_mass_jet_j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12800" y="4862513"/>
            <a:ext cx="1238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C7862A-7661-4D9F-9129-C042F0438698}" type="datetime'D''''''E''R_''''prod''''''''eta_''j''e''t''''''''_''''je''''t'">
              <a:rPr lang="en-US" altLang="en-US" sz="1000" b="1"/>
              <a:pPr/>
              <a:t>DER_prodeta_jet_j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389063" y="2514600"/>
            <a:ext cx="661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EFDA94D-E7C7-4364-A987-48002F3E963A}" type="datetime'''''''''''P''''''RI''''''''''_''ta''''u''''''_''p''t'''">
              <a:rPr lang="en-US" altLang="en-US" sz="1000" b="1"/>
              <a:pPr/>
              <a:t>PRI_tau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46175" y="2376488"/>
            <a:ext cx="904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294ADB-F02E-463D-AA08-D4730DE2BD46}" type="datetime'''''''D''''''''''E''''R_ma''s''''s''_''''''vis'''''''''''''">
              <a:rPr lang="en-US" altLang="en-US" sz="1000" b="1"/>
              <a:pPr/>
              <a:t>DER_mass_vis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35013" y="2790825"/>
            <a:ext cx="13160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6907D4B-023A-447E-A7DB-5CE58F5450BD}" type="datetime'DER_p''''''''t_''''r''a''''''''tio''_''lep_''ta''''u'''">
              <a:rPr lang="en-US" altLang="en-US" sz="1000" b="1"/>
              <a:pPr/>
              <a:t>DER_pt_ratio_lep_tau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55663" y="2928938"/>
            <a:ext cx="11953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656B7BA-8D5C-4FD7-BAD5-20DB51A50944}" type="datetime'D''E''''R''''_de''lt''a''''''r''''''''''''''_tau''''_l''e''p'">
              <a:rPr lang="en-US" altLang="en-US" sz="1000" b="1"/>
              <a:pPr/>
              <a:t>DER_deltar_tau_lep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544638" y="3067050"/>
            <a:ext cx="506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F45A3C-1ADC-4862-A0C4-1465EAFF5DE7}" type="datetime'''''''PRI''''''''_''m''''''''''''''''''''''e''''''''''t'''">
              <a:rPr lang="en-US" altLang="en-US" sz="1000" b="1"/>
              <a:pPr/>
              <a:t>PRI_m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262063" y="3205163"/>
            <a:ext cx="788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3A986E-3601-4FC5-A56B-720F006A3F77}" type="datetime'D''''''''''E''''''''''''''''''R''_''''''''s''um_p''''''''t'">
              <a:rPr lang="en-US" altLang="en-US" sz="1000" b="1"/>
              <a:pPr/>
              <a:t>DER_sum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63550" y="2238375"/>
            <a:ext cx="15875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72EDF6-06CB-4B58-8F8B-DBAF1E92F2D2}" type="datetime'DE''''''R_mas''s_tr''''''''a''''ns''_m''''''et_l''''''e''p'''">
              <a:rPr lang="en-US" altLang="en-US" sz="1000" b="1"/>
              <a:pPr/>
              <a:t>DER_mass_trans_met_lep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16000" y="2100263"/>
            <a:ext cx="1035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9688F3-AFEF-4735-B433-F269ACACBE49}" type="datetime'''D''''''''''E''R''''''''_''ma''''''''s''''s_''''MMC'''''">
              <a:rPr lang="en-US" altLang="en-US" sz="1000" b="1"/>
              <a:pPr/>
              <a:t>DER_mass_MMC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74" name="Text Placeholder 2"/>
          <p:cNvSpPr txBox="1">
            <a:spLocks/>
          </p:cNvSpPr>
          <p:nvPr/>
        </p:nvSpPr>
        <p:spPr>
          <a:xfrm>
            <a:off x="375189" y="1538288"/>
            <a:ext cx="4453999" cy="406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smtClean="0"/>
              <a:t>Random Forest Variable Importance Plot</a:t>
            </a:r>
          </a:p>
          <a:p>
            <a:pPr marL="0" indent="0" algn="ctr">
              <a:spcBef>
                <a:spcPct val="25000"/>
              </a:spcBef>
              <a:buNone/>
            </a:pPr>
            <a:r>
              <a:rPr lang="en-US" sz="1200" dirty="0" smtClean="0"/>
              <a:t>(Scaled: Max = 100)</a:t>
            </a:r>
            <a:endParaRPr lang="en-US" sz="1100" dirty="0"/>
          </a:p>
        </p:txBody>
      </p:sp>
      <p:sp>
        <p:nvSpPr>
          <p:cNvPr id="75" name="Text Placeholder 4"/>
          <p:cNvSpPr txBox="1">
            <a:spLocks/>
          </p:cNvSpPr>
          <p:nvPr/>
        </p:nvSpPr>
        <p:spPr>
          <a:xfrm>
            <a:off x="5511814" y="1979612"/>
            <a:ext cx="3861473" cy="31591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400" dirty="0" smtClean="0"/>
              <a:t>Trained model using: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250,000 samples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Cross-validation (2 fold, repeated once)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3 different “</a:t>
            </a:r>
            <a:r>
              <a:rPr lang="en-US" sz="1400" dirty="0" err="1" smtClean="0"/>
              <a:t>mtry”s</a:t>
            </a:r>
            <a:r>
              <a:rPr lang="en-US" sz="1400" dirty="0" smtClean="0"/>
              <a:t> (2, 16, 30)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Algorithm selected in an attempt to: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Predict response on test set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Understand variable importance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Relatively low AMS implies not a great model for prediction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Seems that mass related variables are most important</a:t>
            </a:r>
          </a:p>
        </p:txBody>
      </p:sp>
      <p:sp>
        <p:nvSpPr>
          <p:cNvPr id="76" name="Rectangle 8"/>
          <p:cNvSpPr>
            <a:spLocks noChangeArrowheads="1"/>
          </p:cNvSpPr>
          <p:nvPr/>
        </p:nvSpPr>
        <p:spPr bwMode="gray">
          <a:xfrm>
            <a:off x="5511814" y="1512922"/>
            <a:ext cx="3861473" cy="41627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Discussion</a:t>
            </a:r>
          </a:p>
        </p:txBody>
      </p:sp>
      <p:sp>
        <p:nvSpPr>
          <p:cNvPr id="77" name="AutoShape 2"/>
          <p:cNvSpPr>
            <a:spLocks noChangeArrowheads="1"/>
          </p:cNvSpPr>
          <p:nvPr/>
        </p:nvSpPr>
        <p:spPr bwMode="auto">
          <a:xfrm rot="10800000">
            <a:off x="5547137" y="5214393"/>
            <a:ext cx="3762229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78" name="Rectangle 2"/>
          <p:cNvSpPr>
            <a:spLocks noChangeArrowheads="1"/>
          </p:cNvSpPr>
          <p:nvPr/>
        </p:nvSpPr>
        <p:spPr bwMode="gray">
          <a:xfrm>
            <a:off x="6388871" y="5548726"/>
            <a:ext cx="2059651" cy="762000"/>
          </a:xfrm>
          <a:prstGeom prst="rect">
            <a:avLst/>
          </a:prstGeom>
          <a:solidFill>
            <a:srgbClr val="EAE8E2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/>
              <a:t>Test AMS = 2.10</a:t>
            </a:r>
            <a:endParaRPr lang="en-US" sz="1400" b="1" dirty="0"/>
          </a:p>
        </p:txBody>
      </p:sp>
      <p:sp>
        <p:nvSpPr>
          <p:cNvPr id="79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0" name="AutoShape 4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1" name="AutoShape 5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2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Test Individual Model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4241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6&quot;&gt;&lt;elem m_fUsage=&quot;2.22297348283290000000E+000&quot;&gt;&lt;m_msothmcolidx val=&quot;0&quot;/&gt;&lt;m_rgb r=&quot;A5&quot; g=&quot;CC&quot; b=&quot;ED&quot;/&gt;&lt;m_nBrightness val=&quot;0&quot;/&gt;&lt;/elem&gt;&lt;elem m_fUsage=&quot;2.21720698622061050000E+000&quot;&gt;&lt;m_msothmcolidx val=&quot;0&quot;/&gt;&lt;m_rgb r=&quot;8F&quot; g=&quot;8F&quot; b=&quot;8F&quot;/&gt;&lt;m_nBrightness val=&quot;0&quot;/&gt;&lt;/elem&gt;&lt;elem m_fUsage=&quot;1.63635834209464900000E+000&quot;&gt;&lt;m_msothmcolidx val=&quot;0&quot;/&gt;&lt;m_rgb r=&quot;06&quot; g=&quot;6B&quot; b=&quot;B0&quot;/&gt;&lt;m_nBrightness val=&quot;0&quot;/&gt;&lt;/elem&gt;&lt;elem m_fUsage=&quot;8.10000000000000050000E-001&quot;&gt;&lt;m_msothmcolidx val=&quot;0&quot;/&gt;&lt;m_rgb r=&quot;0D&quot; g=&quot;96&quot; b=&quot;01&quot;/&gt;&lt;m_nBrightness val=&quot;0&quot;/&gt;&lt;/elem&gt;&lt;elem m_fUsage=&quot;7.29000000000000090000E-001&quot;&gt;&lt;m_msothmcolidx val=&quot;0&quot;/&gt;&lt;m_rgb r=&quot;00&quot; g=&quot;45&quot; b=&quot;5A&quot;/&gt;&lt;m_nBrightness val=&quot;0&quot;/&gt;&lt;/elem&gt;&lt;elem m_fUsage=&quot;5.31441000000000160000E-001&quot;&gt;&lt;m_msothmcolidx val=&quot;0&quot;/&gt;&lt;m_rgb r=&quot;14&quot; g=&quot;6B&quot; b=&quot;FF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KpPKuUQyKfIQFcMXtK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.4W0yAQ_2e6Wv_C4tu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9fz4pURaqRnffPKmUy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Ozj61T8mNcJLx64AD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8inLA6TRCUFt.IzXNG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.uRu.8R7Olw5Uej__Z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o5fcjKTjWHPQYmd7T4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Gqp7ZDTn.6zS3.pCja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8inLA6TRCUFt.IzXNG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7_uuVRQGWV3p1oYVRc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hLpNlZR5W65Jn1lKKY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rZAG_RQmW2HC9ItImN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l0w4C4S5C4BfKWdO1ae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rJMUZKQwaimvO2KUPU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zppytMTF6ugGEvWOu13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ZLKDf.Qq2ywCP_90Fg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IfhFPCTHeaw2ST8zAV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WR.tvcTe6WD3TEuHoB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zA_I9oQse57tdGa3vF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nInAobSvOnq1ZLV1gQl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94uM7ORQqD4dO7byaQ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WXmq8HS.GpxjChdX7I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gr8yjoQdeeebyYE3gS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KLqIX2QXaBm0A9En_DW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jR7n6yTsCTWIyPsC4xq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di1QofR5qYkRjCdm6x.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0HrCx_QN6KistiCK0e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L.SH82R4O2k6ut40Yz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AIbdfrT0WF5oaHq9Kf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sc95BYRF.1aX1xR3hwj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gLhcRSTC2YZb.ywuQB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r6zo7nTaq9.VZnk.Os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RPNVj2SB.yeD0RhoeJ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4sOJwvQYynjoD9cew0M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vGEcgmShyvQOGt_NwN5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DhabrcS4.Jyr6yrSSL0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thSZ0zTae0._0gqPER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hP5Dz2Ssu_y7gmwpx9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d.UuTGSr2Ebg8rW7zOy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vsEozqTbWCBtntwQT28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9TfCUTt2u9I.e0fiG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vAjyvRe.aZ1R4g2Fn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lG7Z_SfePKxx2y0rd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QPe0gpRnmU9JZ6dFPAc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ilf2OrShu8zdGERksLz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FjibfhTLGNrTB4aL5.F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6KX_YWTzq3eyGyBaAt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l1.AWTmOTScNebAVuL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.IA5OR3uYowVuOemuF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AJ_wj6TfaO7Tm17Hhe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cVWkaPQBiJ5v25ZPRB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ZYMkIhSrS1bFO9SCnqd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rsdjSxSk2NQaoIJPSoA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TriJBJTMqbZlho2hr21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kT2YX7QeC60xYqQ7sGV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l1.AWTmOTScNebAVu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cVWkaPQBiJ5v25ZPRBz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kT2YX7QeC60xYqQ7sGV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8inLA6TRCUFt.IzXNGW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7_uuVRQGWV3p1oYVRcE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U9aj.3RGalDRyRG9iY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se.TnBQQGbxKCkk_QGB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heme/theme1.xml><?xml version="1.0" encoding="utf-8"?>
<a:theme xmlns:a="http://schemas.openxmlformats.org/drawingml/2006/main" name="Blank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0190</TotalTime>
  <Words>907</Words>
  <Application>Microsoft Macintosh PowerPoint</Application>
  <PresentationFormat>A4 Paper (210x297 mm)</PresentationFormat>
  <Paragraphs>226</Paragraphs>
  <Slides>1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Book Antiqua</vt:lpstr>
      <vt:lpstr>Calibri</vt:lpstr>
      <vt:lpstr>Wingdings</vt:lpstr>
      <vt:lpstr>Arial</vt:lpstr>
      <vt:lpstr>Blank</vt:lpstr>
      <vt:lpstr>think-cell Slide</vt:lpstr>
      <vt:lpstr>Chart</vt:lpstr>
      <vt:lpstr>PowerPoint Presentation</vt:lpstr>
      <vt:lpstr>Our team followed a 3 step approach to the Higgs Boson Kaggle competition</vt:lpstr>
      <vt:lpstr>Agenda</vt:lpstr>
      <vt:lpstr>Agenda</vt:lpstr>
      <vt:lpstr>Examining the relationships between variables reveals several strong correlations</vt:lpstr>
      <vt:lpstr>Mean and Standard Deviations of many variables tend to vary for signal vs background events</vt:lpstr>
      <vt:lpstr>PCA results indicate it will be difficult to reduce dimensions as first principal component explains just 23% of variance</vt:lpstr>
      <vt:lpstr>Agenda</vt:lpstr>
      <vt:lpstr>First individual model attempted was a Random Forest which was not highly predictive but highlighted importance of mass variables</vt:lpstr>
      <vt:lpstr>XGBoost produced a much better model – particularly after tuning to avoid overfitting – and resulted in a test AMS of 3.64 to 3.70</vt:lpstr>
      <vt:lpstr>Best XGBoost predictions yield top 100 Kaggle score</vt:lpstr>
      <vt:lpstr>NeuralNets of varying hidden nodes yielded poorer results.  Cross validating tuning with large hidden node values took too long to run. </vt:lpstr>
      <vt:lpstr>Agenda</vt:lpstr>
      <vt:lpstr>Takeaways and Next Steps</vt:lpstr>
    </vt:vector>
  </TitlesOfParts>
  <Company>Booz &amp; Company</Company>
  <LinksUpToDate>false</LinksUpToDate>
  <SharedDoc>false</SharedDoc>
  <HyperlinksChanged>false</HyperlinksChanged>
  <AppVersion>15.002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yler Knutson</dc:creator>
  <cp:lastModifiedBy>Spencer Stebbins</cp:lastModifiedBy>
  <cp:revision>1218</cp:revision>
  <dcterms:created xsi:type="dcterms:W3CDTF">2013-08-13T16:05:17Z</dcterms:created>
  <dcterms:modified xsi:type="dcterms:W3CDTF">2016-08-29T01:54:21Z</dcterms:modified>
</cp:coreProperties>
</file>